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diagrams/layout2.xml" ContentType="application/vnd.openxmlformats-officedocument.drawingml.diagramLayout+xml"/>
  <Override PartName="/ppt/charts/chart6.xml" ContentType="application/vnd.openxmlformats-officedocument.drawingml.chart+xml"/>
  <Default Extension="gif" ContentType="image/gif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Default Extension="wdp" ContentType="image/vnd.ms-photo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21"/>
  </p:notesMasterIdLst>
  <p:handoutMasterIdLst>
    <p:handoutMasterId r:id="rId22"/>
  </p:handoutMasterIdLst>
  <p:sldIdLst>
    <p:sldId id="792" r:id="rId2"/>
    <p:sldId id="770" r:id="rId3"/>
    <p:sldId id="794" r:id="rId4"/>
    <p:sldId id="807" r:id="rId5"/>
    <p:sldId id="795" r:id="rId6"/>
    <p:sldId id="806" r:id="rId7"/>
    <p:sldId id="810" r:id="rId8"/>
    <p:sldId id="809" r:id="rId9"/>
    <p:sldId id="808" r:id="rId10"/>
    <p:sldId id="811" r:id="rId11"/>
    <p:sldId id="796" r:id="rId12"/>
    <p:sldId id="798" r:id="rId13"/>
    <p:sldId id="812" r:id="rId14"/>
    <p:sldId id="813" r:id="rId15"/>
    <p:sldId id="815" r:id="rId16"/>
    <p:sldId id="814" r:id="rId17"/>
    <p:sldId id="816" r:id="rId18"/>
    <p:sldId id="817" r:id="rId19"/>
    <p:sldId id="777" r:id="rId20"/>
  </p:sldIdLst>
  <p:sldSz cx="9906000" cy="6858000" type="A4"/>
  <p:notesSz cx="6797675" cy="9926638"/>
  <p:custDataLst>
    <p:tags r:id="rId23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chemeClr val="tx1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8200"/>
    <a:srgbClr val="006400"/>
    <a:srgbClr val="EAF6CE"/>
    <a:srgbClr val="DAF0A8"/>
    <a:srgbClr val="F1F9DF"/>
    <a:srgbClr val="FDC9C9"/>
    <a:srgbClr val="066BB0"/>
    <a:srgbClr val="7DB935"/>
    <a:srgbClr val="F0F0F0"/>
    <a:srgbClr val="BFBFB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36" autoAdjust="0"/>
    <p:restoredTop sz="94828" autoAdjust="0"/>
  </p:normalViewPr>
  <p:slideViewPr>
    <p:cSldViewPr snapToGrid="0" snapToObjects="1">
      <p:cViewPr>
        <p:scale>
          <a:sx n="75" d="100"/>
          <a:sy n="75" d="100"/>
        </p:scale>
        <p:origin x="-174" y="-174"/>
      </p:cViewPr>
      <p:guideLst>
        <p:guide orient="horz" pos="2456"/>
        <p:guide orient="horz" pos="172"/>
        <p:guide orient="horz" pos="233"/>
        <p:guide orient="horz" pos="725"/>
        <p:guide orient="horz" pos="1010"/>
        <p:guide orient="horz" pos="3895"/>
        <p:guide orient="horz" pos="4203"/>
        <p:guide orient="horz" pos="4071"/>
        <p:guide pos="3120"/>
        <p:guide pos="183"/>
        <p:guide pos="1218"/>
        <p:guide pos="2412"/>
        <p:guide pos="6062"/>
        <p:guide pos="52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-3204" y="-108"/>
      </p:cViewPr>
      <p:guideLst>
        <p:guide orient="horz" pos="3127"/>
        <p:guide pos="214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ERPD\regional%20cooperation\intra%20exports%20by%20regional%20grouping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nsport%20policy\data%20bank\approvals%20sketch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nsport%20policy\data%20bank\approvals%20sketch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transport%20policy\data%20bank\approvals%20sketc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CH"/>
  <c:style val="5"/>
  <c:chart>
    <c:title>
      <c:tx>
        <c:rich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 lang="en-US" sz="1200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pPr>
            <a:r>
              <a:rPr lang="en-US" sz="12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Cumulative  IDBG financing 1396H-1433H in US$</a:t>
            </a:r>
            <a:endParaRPr lang="en-US" sz="1200" b="1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14888753425989215"/>
          <c:y val="0.90665433838851395"/>
        </c:manualLayout>
      </c:layout>
    </c:title>
    <c:view3D>
      <c:rotX val="30"/>
      <c:rotY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bg2"/>
            </a:solidFill>
          </c:spPr>
          <c:explosion val="5"/>
          <c:dPt>
            <c:idx val="0"/>
            <c:spPr>
              <a:solidFill>
                <a:schemeClr val="accent2">
                  <a:lumMod val="50000"/>
                </a:schemeClr>
              </a:solidFill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</c:spPr>
          </c:dPt>
          <c:dLbls>
            <c:dLbl>
              <c:idx val="0"/>
              <c:layout>
                <c:manualLayout>
                  <c:x val="-0.24664528741178357"/>
                  <c:y val="-0.19982585024440327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>
                        <a:solidFill>
                          <a:schemeClr val="bg1"/>
                        </a:solidFill>
                      </a:rPr>
                      <a:t>Projects </a:t>
                    </a:r>
                    <a:r>
                      <a:rPr lang="en-US" sz="1100" dirty="0" smtClean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100" dirty="0" smtClean="0">
                        <a:solidFill>
                          <a:schemeClr val="bg1"/>
                        </a:solidFill>
                      </a:rPr>
                    </a:br>
                    <a:r>
                      <a:rPr lang="en-US" sz="1100" dirty="0" smtClean="0">
                        <a:solidFill>
                          <a:schemeClr val="bg1"/>
                        </a:solidFill>
                      </a:rPr>
                      <a:t>$ </a:t>
                    </a:r>
                    <a:r>
                      <a:rPr lang="en-US" sz="1100" dirty="0">
                        <a:solidFill>
                          <a:schemeClr val="bg1"/>
                        </a:solidFill>
                      </a:rPr>
                      <a:t>42.02 billion (49.52%)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CatName val="1"/>
            </c:dLbl>
            <c:dLbl>
              <c:idx val="1"/>
              <c:layout>
                <c:manualLayout>
                  <c:x val="0.19795290555791595"/>
                  <c:y val="0.13123679309381878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>
                        <a:solidFill>
                          <a:schemeClr val="bg1"/>
                        </a:solidFill>
                      </a:rPr>
                      <a:t>Trade financing $ 42.43 billion (50.00%)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CatName val="1"/>
            </c:dLbl>
            <c:dLbl>
              <c:idx val="2"/>
              <c:layout>
                <c:manualLayout>
                  <c:x val="2.2308463203257228E-3"/>
                  <c:y val="1.279370363610910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Technical assistance </a:t>
                    </a:r>
                    <a:r>
                      <a:rPr lang="en-US" dirty="0" smtClean="0"/>
                      <a:t/>
                    </a:r>
                    <a:br>
                      <a:rPr lang="en-US" dirty="0" smtClean="0"/>
                    </a:br>
                    <a:r>
                      <a:rPr lang="en-US" dirty="0" smtClean="0"/>
                      <a:t>$ </a:t>
                    </a:r>
                    <a:r>
                      <a:rPr lang="en-US" dirty="0"/>
                      <a:t>0.41 billion (0.48%)</a:t>
                    </a:r>
                  </a:p>
                </c:rich>
              </c:tx>
              <c:showCatName val="1"/>
            </c:dLbl>
            <c:txPr>
              <a:bodyPr/>
              <a:lstStyle/>
              <a:p>
                <a:pPr>
                  <a:defRPr lang="en-US" sz="1100"/>
                </a:pPr>
                <a:endParaRPr lang="fr-FR"/>
              </a:p>
            </c:txPr>
            <c:showCatName val="1"/>
          </c:dLbls>
          <c:cat>
            <c:strRef>
              <c:f>Sheet1!$A$2:$A$5</c:f>
              <c:strCache>
                <c:ptCount val="3"/>
                <c:pt idx="0">
                  <c:v>Projects $ 42.02 billion (49.52%)</c:v>
                </c:pt>
                <c:pt idx="1">
                  <c:v>Trade financing $ 42.43 billion (50.00%)</c:v>
                </c:pt>
                <c:pt idx="2">
                  <c:v>Technical assistance $ 0.41 billion (0.48%)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49521997991825906</c:v>
                </c:pt>
                <c:pt idx="1">
                  <c:v>0.49999882149406294</c:v>
                </c:pt>
                <c:pt idx="2">
                  <c:v>4.7811985876784861E-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explosion val="25"/>
          <c:cat>
            <c:strRef>
              <c:f>Sheet1!$A$2:$A$5</c:f>
              <c:strCache>
                <c:ptCount val="3"/>
                <c:pt idx="0">
                  <c:v>Projects $ 42.02 billion (49.52%)</c:v>
                </c:pt>
                <c:pt idx="1">
                  <c:v>Trade financing $ 42.43 billion (50.00%)</c:v>
                </c:pt>
                <c:pt idx="2">
                  <c:v>Technical assistance $ 0.41 billion (0.48%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2021</c:v>
                </c:pt>
                <c:pt idx="1">
                  <c:v>42426.5</c:v>
                </c:pt>
                <c:pt idx="2">
                  <c:v>405.7</c:v>
                </c:pt>
                <c:pt idx="3">
                  <c:v>84853.2</c:v>
                </c:pt>
              </c:numCache>
            </c:numRef>
          </c:val>
        </c:ser>
        <c:dLbls>
          <c:showCatName val="1"/>
        </c:dLbls>
      </c:pie3DChart>
    </c:plotArea>
    <c:plotVisOnly val="1"/>
    <c:dispBlanksAs val="zero"/>
  </c:chart>
  <c:txPr>
    <a:bodyPr/>
    <a:lstStyle/>
    <a:p>
      <a:pPr>
        <a:defRPr sz="1200"/>
      </a:pPr>
      <a:endParaRPr lang="fr-F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CH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9.3055555555557237E-2"/>
          <c:y val="0.27564377369495785"/>
          <c:w val="0.85833333333333361"/>
          <c:h val="0.6847080052493457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metal">
              <a:bevelT/>
              <a:bevelB/>
            </a:sp3d>
          </c:spPr>
          <c:explosion val="35"/>
          <c:dLbls>
            <c:dLbl>
              <c:idx val="0"/>
              <c:layout>
                <c:manualLayout>
                  <c:x val="-3.0076443569554183E-2"/>
                  <c:y val="-0.137126348789734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Energy,</a:t>
                    </a:r>
                    <a:r>
                      <a:rPr lang="en-US" baseline="0" dirty="0" smtClean="0"/>
                      <a:t> 36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dLbl>
              <c:idx val="1"/>
              <c:layout>
                <c:manualLayout>
                  <c:x val="0.38476901694137666"/>
                  <c:y val="-2.2155325931012316E-2"/>
                </c:manualLayout>
              </c:layout>
              <c:spPr>
                <a:solidFill>
                  <a:srgbClr val="FFFFFF"/>
                </a:solidFill>
              </c:spPr>
              <c:txPr>
                <a:bodyPr/>
                <a:lstStyle/>
                <a:p>
                  <a:pPr>
                    <a:defRPr lang="en-US" sz="1100" b="1"/>
                  </a:pPr>
                  <a:endParaRPr lang="fr-FR"/>
                </a:p>
              </c:txPr>
              <c:dLblPos val="bestFit"/>
              <c:showVal val="1"/>
              <c:showCatName val="1"/>
            </c:dLbl>
            <c:dLbl>
              <c:idx val="2"/>
              <c:layout>
                <c:manualLayout>
                  <c:x val="1.9861571820906959E-3"/>
                  <c:y val="0.1485600084853165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Industry, 12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dLbl>
              <c:idx val="3"/>
              <c:layout>
                <c:manualLayout>
                  <c:x val="-0.13918482064741908"/>
                  <c:y val="-5.711577719451758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Agriculture, 11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dLbl>
              <c:idx val="4"/>
              <c:layout>
                <c:manualLayout>
                  <c:x val="-1.3057086614173241E-2"/>
                  <c:y val="-9.434601924759420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Social, 6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Other, 4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txPr>
              <a:bodyPr/>
              <a:lstStyle/>
              <a:p>
                <a:pPr>
                  <a:defRPr lang="en-US" sz="1100" b="1"/>
                </a:pPr>
                <a:endParaRPr lang="fr-FR"/>
              </a:p>
            </c:txPr>
            <c:dLblPos val="bestFit"/>
            <c:showVal val="1"/>
            <c:showCatName val="1"/>
          </c:dLbls>
          <c:cat>
            <c:strRef>
              <c:f>Sheet1!$A$2:$A$7</c:f>
              <c:strCache>
                <c:ptCount val="6"/>
                <c:pt idx="0">
                  <c:v>Energy/Utility</c:v>
                </c:pt>
                <c:pt idx="1">
                  <c:v>Transport &amp; Coms</c:v>
                </c:pt>
                <c:pt idx="2">
                  <c:v>Industry</c:v>
                </c:pt>
                <c:pt idx="3">
                  <c:v>Agriculture</c:v>
                </c:pt>
                <c:pt idx="4">
                  <c:v>Social</c:v>
                </c:pt>
                <c:pt idx="5">
                  <c:v>Other Sector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36000000000000032</c:v>
                </c:pt>
                <c:pt idx="1">
                  <c:v>0.31000000000000222</c:v>
                </c:pt>
                <c:pt idx="2">
                  <c:v>0.12000000000000002</c:v>
                </c:pt>
                <c:pt idx="3">
                  <c:v>0.11000000000000015</c:v>
                </c:pt>
                <c:pt idx="4">
                  <c:v>6.000000000000013E-2</c:v>
                </c:pt>
                <c:pt idx="5">
                  <c:v>4.0000000000000112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cene3d>
              <a:camera prst="orthographicFront"/>
              <a:lightRig rig="threePt" dir="t"/>
            </a:scene3d>
            <a:sp3d prstMaterial="metal">
              <a:bevelT/>
              <a:bevelB/>
            </a:sp3d>
          </c:spPr>
          <c:cat>
            <c:strRef>
              <c:f>Sheet1!$A$2:$A$7</c:f>
              <c:strCache>
                <c:ptCount val="6"/>
                <c:pt idx="0">
                  <c:v>Energy/Utility</c:v>
                </c:pt>
                <c:pt idx="1">
                  <c:v>Transport &amp; Coms</c:v>
                </c:pt>
                <c:pt idx="2">
                  <c:v>Industry</c:v>
                </c:pt>
                <c:pt idx="3">
                  <c:v>Agriculture</c:v>
                </c:pt>
                <c:pt idx="4">
                  <c:v>Social</c:v>
                </c:pt>
                <c:pt idx="5">
                  <c:v>Other Sectors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</c:ser>
        <c:dLbls>
          <c:showPercent val="1"/>
        </c:dLbls>
      </c:pie3DChart>
    </c:plotArea>
    <c:plotVisOnly val="1"/>
    <c:dispBlanksAs val="zero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CH"/>
  <c:chart>
    <c:plotArea>
      <c:layout/>
      <c:barChart>
        <c:barDir val="col"/>
        <c:grouping val="clustered"/>
        <c:ser>
          <c:idx val="0"/>
          <c:order val="0"/>
          <c:tx>
            <c:strRef>
              <c:f>'central asia (2)'!$M$10</c:f>
              <c:strCache>
                <c:ptCount val="1"/>
                <c:pt idx="0">
                  <c:v>2000</c:v>
                </c:pt>
              </c:strCache>
            </c:strRef>
          </c:tx>
          <c:cat>
            <c:strRef>
              <c:f>'central asia (2)'!$N$9:$V$9</c:f>
              <c:strCache>
                <c:ptCount val="9"/>
                <c:pt idx="0">
                  <c:v>ECOWAS</c:v>
                </c:pt>
                <c:pt idx="1">
                  <c:v>COMESA</c:v>
                </c:pt>
                <c:pt idx="2">
                  <c:v>ECO</c:v>
                </c:pt>
                <c:pt idx="3">
                  <c:v>CIS</c:v>
                </c:pt>
                <c:pt idx="4">
                  <c:v>ASEAN</c:v>
                </c:pt>
                <c:pt idx="5">
                  <c:v>SAARC</c:v>
                </c:pt>
                <c:pt idx="6">
                  <c:v>GCC</c:v>
                </c:pt>
                <c:pt idx="7">
                  <c:v>AMU</c:v>
                </c:pt>
                <c:pt idx="8">
                  <c:v>IDB-56</c:v>
                </c:pt>
              </c:strCache>
            </c:strRef>
          </c:cat>
          <c:val>
            <c:numRef>
              <c:f>'central asia (2)'!$N$10:$V$10</c:f>
              <c:numCache>
                <c:formatCode>0%</c:formatCode>
                <c:ptCount val="9"/>
                <c:pt idx="0">
                  <c:v>6.4700000000000077E-2</c:v>
                </c:pt>
                <c:pt idx="1">
                  <c:v>9.3000000000000114E-3</c:v>
                </c:pt>
                <c:pt idx="2">
                  <c:v>5.5500000000000042E-2</c:v>
                </c:pt>
                <c:pt idx="3">
                  <c:v>5.7900000000000042E-2</c:v>
                </c:pt>
                <c:pt idx="4">
                  <c:v>2.4400000000000012E-2</c:v>
                </c:pt>
                <c:pt idx="5">
                  <c:v>2.3099999999999999E-2</c:v>
                </c:pt>
                <c:pt idx="6">
                  <c:v>4.8800000000000024E-2</c:v>
                </c:pt>
                <c:pt idx="7">
                  <c:v>2.1500000000000002E-2</c:v>
                </c:pt>
                <c:pt idx="8">
                  <c:v>0.1028</c:v>
                </c:pt>
              </c:numCache>
            </c:numRef>
          </c:val>
        </c:ser>
        <c:ser>
          <c:idx val="1"/>
          <c:order val="1"/>
          <c:tx>
            <c:strRef>
              <c:f>'central asia (2)'!$M$11</c:f>
              <c:strCache>
                <c:ptCount val="1"/>
                <c:pt idx="0">
                  <c:v>2010</c:v>
                </c:pt>
              </c:strCache>
            </c:strRef>
          </c:tx>
          <c:cat>
            <c:strRef>
              <c:f>'central asia (2)'!$N$9:$V$9</c:f>
              <c:strCache>
                <c:ptCount val="9"/>
                <c:pt idx="0">
                  <c:v>ECOWAS</c:v>
                </c:pt>
                <c:pt idx="1">
                  <c:v>COMESA</c:v>
                </c:pt>
                <c:pt idx="2">
                  <c:v>ECO</c:v>
                </c:pt>
                <c:pt idx="3">
                  <c:v>CIS</c:v>
                </c:pt>
                <c:pt idx="4">
                  <c:v>ASEAN</c:v>
                </c:pt>
                <c:pt idx="5">
                  <c:v>SAARC</c:v>
                </c:pt>
                <c:pt idx="6">
                  <c:v>GCC</c:v>
                </c:pt>
                <c:pt idx="7">
                  <c:v>AMU</c:v>
                </c:pt>
                <c:pt idx="8">
                  <c:v>IDB-56</c:v>
                </c:pt>
              </c:strCache>
            </c:strRef>
          </c:cat>
          <c:val>
            <c:numRef>
              <c:f>'central asia (2)'!$N$11:$V$11</c:f>
              <c:numCache>
                <c:formatCode>0%</c:formatCode>
                <c:ptCount val="9"/>
                <c:pt idx="0">
                  <c:v>6.3600000000000004E-2</c:v>
                </c:pt>
                <c:pt idx="1">
                  <c:v>3.1200000000000019E-2</c:v>
                </c:pt>
                <c:pt idx="2">
                  <c:v>8.7600000000000067E-2</c:v>
                </c:pt>
                <c:pt idx="3">
                  <c:v>4.1599999999999998E-2</c:v>
                </c:pt>
                <c:pt idx="4">
                  <c:v>4.4200000000000024E-2</c:v>
                </c:pt>
                <c:pt idx="5">
                  <c:v>6.3300000000000065E-2</c:v>
                </c:pt>
                <c:pt idx="6">
                  <c:v>4.8400000000000033E-2</c:v>
                </c:pt>
                <c:pt idx="7">
                  <c:v>2.8900000000000002E-2</c:v>
                </c:pt>
                <c:pt idx="8">
                  <c:v>0.15940000000000018</c:v>
                </c:pt>
              </c:numCache>
            </c:numRef>
          </c:val>
        </c:ser>
        <c:axId val="50540544"/>
        <c:axId val="50542080"/>
      </c:barChart>
      <c:catAx>
        <c:axId val="50540544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US"/>
            </a:pPr>
            <a:endParaRPr lang="fr-FR"/>
          </a:p>
        </c:txPr>
        <c:crossAx val="50542080"/>
        <c:crosses val="autoZero"/>
        <c:auto val="1"/>
        <c:lblAlgn val="ctr"/>
        <c:lblOffset val="100"/>
      </c:catAx>
      <c:valAx>
        <c:axId val="50542080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en-US"/>
            </a:pPr>
            <a:endParaRPr lang="fr-FR"/>
          </a:p>
        </c:txPr>
        <c:crossAx val="505405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9859645224604674"/>
          <c:y val="4.9381566731162063E-2"/>
          <c:w val="0.20343776617412884"/>
          <c:h val="0.15696721297469349"/>
        </c:manualLayout>
      </c:layout>
      <c:txPr>
        <a:bodyPr/>
        <a:lstStyle/>
        <a:p>
          <a:pPr>
            <a:defRPr lang="en-US"/>
          </a:pPr>
          <a:endParaRPr lang="fr-FR"/>
        </a:p>
      </c:txPr>
    </c:legend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CH"/>
  <c:chart>
    <c:title>
      <c:tx>
        <c:rich>
          <a:bodyPr/>
          <a:lstStyle/>
          <a:p>
            <a:pPr>
              <a:defRPr lang="en-US"/>
            </a:pPr>
            <a:r>
              <a:rPr lang="en-US" sz="1200" dirty="0" smtClean="0"/>
              <a:t>Geographic</a:t>
            </a:r>
            <a:r>
              <a:rPr lang="en-US" sz="1200" baseline="0" dirty="0" smtClean="0"/>
              <a:t> distribution of </a:t>
            </a:r>
            <a:br>
              <a:rPr lang="en-US" sz="1200" baseline="0" dirty="0" smtClean="0"/>
            </a:br>
            <a:r>
              <a:rPr lang="en-US" sz="1200" baseline="0" dirty="0" smtClean="0"/>
              <a:t>(total approvals in US$)</a:t>
            </a:r>
            <a:endParaRPr lang="en-US" sz="1200" dirty="0"/>
          </a:p>
        </c:rich>
      </c:tx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explosion val="11"/>
          <c:dPt>
            <c:idx val="1"/>
            <c:spPr>
              <a:solidFill>
                <a:srgbClr val="008200"/>
              </a:solidFill>
            </c:spPr>
          </c:dPt>
          <c:dPt>
            <c:idx val="2"/>
            <c:explosion val="6"/>
            <c:spPr>
              <a:solidFill>
                <a:srgbClr val="7030A0"/>
              </a:solidFill>
            </c:spPr>
          </c:dPt>
          <c:dLbls>
            <c:dLbl>
              <c:idx val="1"/>
              <c:numFmt formatCode="0.00%" sourceLinked="0"/>
              <c:spPr/>
              <c:txPr>
                <a:bodyPr/>
                <a:lstStyle/>
                <a:p>
                  <a:pPr>
                    <a:defRPr lang="en-US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</c:dLbl>
            <c:dLbl>
              <c:idx val="2"/>
              <c:numFmt formatCode="0.00%" sourceLinked="0"/>
              <c:spPr/>
              <c:txPr>
                <a:bodyPr/>
                <a:lstStyle/>
                <a:p>
                  <a:pPr>
                    <a:defRPr lang="en-US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</c:dLbl>
            <c:dLbl>
              <c:idx val="3"/>
              <c:layout>
                <c:manualLayout>
                  <c:x val="0.25025999336758958"/>
                  <c:y val="4.7723528524537175E-3"/>
                </c:manualLayout>
              </c:layout>
              <c:showCatName val="1"/>
              <c:showPercent val="1"/>
            </c:dLbl>
            <c:numFmt formatCode="0.00%" sourceLinked="0"/>
            <c:txPr>
              <a:bodyPr/>
              <a:lstStyle/>
              <a:p>
                <a:pPr>
                  <a:defRPr lang="en-US"/>
                </a:pPr>
                <a:endParaRPr lang="fr-FR"/>
              </a:p>
            </c:txPr>
            <c:showCatName val="1"/>
            <c:showPercent val="1"/>
            <c:showLeaderLines val="1"/>
          </c:dLbls>
          <c:cat>
            <c:strRef>
              <c:f>Sheet1!$AJ$15:$AJ$18</c:f>
              <c:strCache>
                <c:ptCount val="4"/>
                <c:pt idx="0">
                  <c:v>Africa</c:v>
                </c:pt>
                <c:pt idx="1">
                  <c:v>Arab world</c:v>
                </c:pt>
                <c:pt idx="2">
                  <c:v>Asia</c:v>
                </c:pt>
                <c:pt idx="3">
                  <c:v>Other</c:v>
                </c:pt>
              </c:strCache>
            </c:strRef>
          </c:cat>
          <c:val>
            <c:numRef>
              <c:f>Sheet1!$AL$15:$AL$18</c:f>
              <c:numCache>
                <c:formatCode>0.00%</c:formatCode>
                <c:ptCount val="4"/>
                <c:pt idx="0">
                  <c:v>0.28649247321549687</c:v>
                </c:pt>
                <c:pt idx="1">
                  <c:v>0.24106053071741795</c:v>
                </c:pt>
                <c:pt idx="2">
                  <c:v>0.46892093485827963</c:v>
                </c:pt>
                <c:pt idx="3">
                  <c:v>3.5260612088061148E-3</c:v>
                </c:pt>
              </c:numCache>
            </c:numRef>
          </c:val>
        </c:ser>
        <c:dLbls>
          <c:showCatName val="1"/>
          <c:showPercent val="1"/>
        </c:dLbls>
      </c:pie3DChart>
    </c:plotArea>
    <c:plotVisOnly val="1"/>
    <c:dispBlanksAs val="zero"/>
  </c:chart>
  <c:spPr>
    <a:noFill/>
  </c:sp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CH"/>
  <c:chart>
    <c:title>
      <c:tx>
        <c:rich>
          <a:bodyPr/>
          <a:lstStyle/>
          <a:p>
            <a:pPr>
              <a:defRPr lang="en-US"/>
            </a:pPr>
            <a:r>
              <a:rPr lang="en-US" sz="1200" dirty="0" smtClean="0"/>
              <a:t>Geographic</a:t>
            </a:r>
            <a:r>
              <a:rPr lang="en-US" sz="1200" baseline="0" dirty="0" smtClean="0"/>
              <a:t> Distribution </a:t>
            </a:r>
            <a:br>
              <a:rPr lang="en-US" sz="1200" baseline="0" dirty="0" smtClean="0"/>
            </a:br>
            <a:r>
              <a:rPr lang="en-US" sz="1200" baseline="0" dirty="0" smtClean="0"/>
              <a:t>(Number of projects)</a:t>
            </a:r>
            <a:endParaRPr lang="en-US" sz="1200" dirty="0"/>
          </a:p>
        </c:rich>
      </c:tx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explosion val="5"/>
          <c:dPt>
            <c:idx val="0"/>
            <c:explosion val="4"/>
          </c:dPt>
          <c:dPt>
            <c:idx val="1"/>
            <c:spPr>
              <a:solidFill>
                <a:srgbClr val="008200"/>
              </a:solidFill>
            </c:spPr>
          </c:dPt>
          <c:dPt>
            <c:idx val="2"/>
            <c:spPr>
              <a:solidFill>
                <a:srgbClr val="7030A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lang="en-US">
                      <a:solidFill>
                        <a:schemeClr val="tx1"/>
                      </a:solidFill>
                    </a:defRPr>
                  </a:pPr>
                  <a:endParaRPr lang="fr-FR"/>
                </a:p>
              </c:txPr>
            </c:dLbl>
            <c:dLbl>
              <c:idx val="3"/>
              <c:layout>
                <c:manualLayout>
                  <c:x val="0.32994768420486142"/>
                  <c:y val="2.9250258295198152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Other
2%</a:t>
                    </a:r>
                  </a:p>
                </c:rich>
              </c:tx>
              <c:showCatName val="1"/>
              <c:showPercent val="1"/>
            </c:dLbl>
            <c:txPr>
              <a:bodyPr/>
              <a:lstStyle/>
              <a:p>
                <a:pPr>
                  <a:defRPr lang="en-US"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CatName val="1"/>
            <c:showPercent val="1"/>
            <c:showLeaderLines val="1"/>
          </c:dLbls>
          <c:cat>
            <c:strRef>
              <c:f>Sheet1!$AJ$15:$AJ$18</c:f>
              <c:strCache>
                <c:ptCount val="4"/>
                <c:pt idx="0">
                  <c:v>Africa</c:v>
                </c:pt>
                <c:pt idx="1">
                  <c:v>Arab world</c:v>
                </c:pt>
                <c:pt idx="2">
                  <c:v>Asia</c:v>
                </c:pt>
                <c:pt idx="3">
                  <c:v>Other</c:v>
                </c:pt>
              </c:strCache>
            </c:strRef>
          </c:cat>
          <c:val>
            <c:numRef>
              <c:f>Sheet1!$AM$15:$AM$18</c:f>
              <c:numCache>
                <c:formatCode>General</c:formatCode>
                <c:ptCount val="4"/>
                <c:pt idx="0">
                  <c:v>203</c:v>
                </c:pt>
                <c:pt idx="1">
                  <c:v>89</c:v>
                </c:pt>
                <c:pt idx="2">
                  <c:v>93</c:v>
                </c:pt>
                <c:pt idx="3">
                  <c:v>8</c:v>
                </c:pt>
              </c:numCache>
            </c:numRef>
          </c:val>
        </c:ser>
        <c:dLbls>
          <c:showCatName val="1"/>
          <c:showPercent val="1"/>
        </c:dLbls>
      </c:pie3DChart>
    </c:plotArea>
    <c:plotVisOnly val="1"/>
    <c:dispBlanksAs val="zero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CH"/>
  <c:chart>
    <c:title>
      <c:tx>
        <c:rich>
          <a:bodyPr/>
          <a:lstStyle/>
          <a:p>
            <a:pPr>
              <a:defRPr lang="en-US"/>
            </a:pPr>
            <a:r>
              <a:rPr lang="en-US" sz="1400" dirty="0" smtClean="0"/>
              <a:t>Annual IDB Approvals in the transport sector (USD million)</a:t>
            </a:r>
            <a:endParaRPr lang="en-US" sz="1400" dirty="0"/>
          </a:p>
        </c:rich>
      </c:tx>
      <c:layout>
        <c:manualLayout>
          <c:xMode val="edge"/>
          <c:yMode val="edge"/>
          <c:x val="0.19259375000000001"/>
          <c:y val="0.90740740740740744"/>
        </c:manualLayout>
      </c:layout>
    </c:title>
    <c:plotArea>
      <c:layout>
        <c:manualLayout>
          <c:layoutTarget val="inner"/>
          <c:xMode val="edge"/>
          <c:yMode val="edge"/>
          <c:x val="6.7025098425196883E-2"/>
          <c:y val="2.5867964421114043E-2"/>
          <c:w val="0.92445964566929151"/>
          <c:h val="0.83844670457859471"/>
        </c:manualLayout>
      </c:layout>
      <c:lineChart>
        <c:grouping val="standard"/>
        <c:ser>
          <c:idx val="0"/>
          <c:order val="0"/>
          <c:tx>
            <c:strRef>
              <c:f>Sheet1!$C$6</c:f>
              <c:strCache>
                <c:ptCount val="1"/>
                <c:pt idx="0">
                  <c:v>Number of operations</c:v>
                </c:pt>
              </c:strCache>
            </c:strRef>
          </c:tx>
          <c:cat>
            <c:strRef>
              <c:f>Sheet1!$D$5:$AL$5</c:f>
              <c:strCache>
                <c:ptCount val="35"/>
                <c:pt idx="0">
                  <c:v>1400</c:v>
                </c:pt>
                <c:pt idx="1">
                  <c:v>1401</c:v>
                </c:pt>
                <c:pt idx="2">
                  <c:v>1402</c:v>
                </c:pt>
                <c:pt idx="3">
                  <c:v>1403</c:v>
                </c:pt>
                <c:pt idx="4">
                  <c:v>1404</c:v>
                </c:pt>
                <c:pt idx="5">
                  <c:v>1405</c:v>
                </c:pt>
                <c:pt idx="6">
                  <c:v>1406</c:v>
                </c:pt>
                <c:pt idx="7">
                  <c:v>1407</c:v>
                </c:pt>
                <c:pt idx="8">
                  <c:v>1408</c:v>
                </c:pt>
                <c:pt idx="9">
                  <c:v>1409</c:v>
                </c:pt>
                <c:pt idx="10">
                  <c:v>1410</c:v>
                </c:pt>
                <c:pt idx="11">
                  <c:v>1411</c:v>
                </c:pt>
                <c:pt idx="12">
                  <c:v>1412</c:v>
                </c:pt>
                <c:pt idx="13">
                  <c:v>1413</c:v>
                </c:pt>
                <c:pt idx="14">
                  <c:v>1414</c:v>
                </c:pt>
                <c:pt idx="15">
                  <c:v>1415</c:v>
                </c:pt>
                <c:pt idx="16">
                  <c:v>1416</c:v>
                </c:pt>
                <c:pt idx="17">
                  <c:v>1417</c:v>
                </c:pt>
                <c:pt idx="18">
                  <c:v>1418</c:v>
                </c:pt>
                <c:pt idx="19">
                  <c:v>1419</c:v>
                </c:pt>
                <c:pt idx="20">
                  <c:v>1420</c:v>
                </c:pt>
                <c:pt idx="21">
                  <c:v>1421</c:v>
                </c:pt>
                <c:pt idx="22">
                  <c:v>1422</c:v>
                </c:pt>
                <c:pt idx="23">
                  <c:v>1423</c:v>
                </c:pt>
                <c:pt idx="24">
                  <c:v>1424</c:v>
                </c:pt>
                <c:pt idx="25">
                  <c:v>1425</c:v>
                </c:pt>
                <c:pt idx="26">
                  <c:v>1426</c:v>
                </c:pt>
                <c:pt idx="27">
                  <c:v>1427</c:v>
                </c:pt>
                <c:pt idx="28">
                  <c:v>1428</c:v>
                </c:pt>
                <c:pt idx="29">
                  <c:v>1429</c:v>
                </c:pt>
                <c:pt idx="30">
                  <c:v>1430</c:v>
                </c:pt>
                <c:pt idx="31">
                  <c:v>1431</c:v>
                </c:pt>
                <c:pt idx="32">
                  <c:v>1432</c:v>
                </c:pt>
                <c:pt idx="33">
                  <c:v>1433</c:v>
                </c:pt>
                <c:pt idx="34">
                  <c:v>1434p</c:v>
                </c:pt>
              </c:strCache>
            </c:strRef>
          </c:cat>
          <c:val>
            <c:numRef>
              <c:f>Sheet1!$D$6:$AL$6</c:f>
            </c:numRef>
          </c:val>
        </c:ser>
        <c:ser>
          <c:idx val="1"/>
          <c:order val="1"/>
          <c:tx>
            <c:strRef>
              <c:f>Sheet1!$C$7</c:f>
              <c:strCache>
                <c:ptCount val="1"/>
                <c:pt idx="0">
                  <c:v>Total Approvals (USD)</c:v>
                </c:pt>
              </c:strCache>
            </c:strRef>
          </c:tx>
          <c:spPr>
            <a:ln w="19050">
              <a:solidFill>
                <a:schemeClr val="bg2">
                  <a:lumMod val="75000"/>
                </a:schemeClr>
              </a:solidFill>
            </a:ln>
          </c:spPr>
          <c:marker>
            <c:symbol val="none"/>
          </c:marker>
          <c:dPt>
            <c:idx val="34"/>
            <c:spPr>
              <a:ln w="19050">
                <a:solidFill>
                  <a:schemeClr val="bg2">
                    <a:lumMod val="75000"/>
                  </a:schemeClr>
                </a:solidFill>
                <a:prstDash val="dash"/>
              </a:ln>
            </c:spPr>
          </c:dPt>
          <c:trendline>
            <c:spPr>
              <a:ln w="41275">
                <a:solidFill>
                  <a:srgbClr val="C00000"/>
                </a:solidFill>
              </a:ln>
            </c:spPr>
            <c:trendlineType val="poly"/>
            <c:order val="2"/>
          </c:trendline>
          <c:cat>
            <c:strRef>
              <c:f>Sheet1!$D$5:$AL$5</c:f>
              <c:strCache>
                <c:ptCount val="35"/>
                <c:pt idx="0">
                  <c:v>1400</c:v>
                </c:pt>
                <c:pt idx="1">
                  <c:v>1401</c:v>
                </c:pt>
                <c:pt idx="2">
                  <c:v>1402</c:v>
                </c:pt>
                <c:pt idx="3">
                  <c:v>1403</c:v>
                </c:pt>
                <c:pt idx="4">
                  <c:v>1404</c:v>
                </c:pt>
                <c:pt idx="5">
                  <c:v>1405</c:v>
                </c:pt>
                <c:pt idx="6">
                  <c:v>1406</c:v>
                </c:pt>
                <c:pt idx="7">
                  <c:v>1407</c:v>
                </c:pt>
                <c:pt idx="8">
                  <c:v>1408</c:v>
                </c:pt>
                <c:pt idx="9">
                  <c:v>1409</c:v>
                </c:pt>
                <c:pt idx="10">
                  <c:v>1410</c:v>
                </c:pt>
                <c:pt idx="11">
                  <c:v>1411</c:v>
                </c:pt>
                <c:pt idx="12">
                  <c:v>1412</c:v>
                </c:pt>
                <c:pt idx="13">
                  <c:v>1413</c:v>
                </c:pt>
                <c:pt idx="14">
                  <c:v>1414</c:v>
                </c:pt>
                <c:pt idx="15">
                  <c:v>1415</c:v>
                </c:pt>
                <c:pt idx="16">
                  <c:v>1416</c:v>
                </c:pt>
                <c:pt idx="17">
                  <c:v>1417</c:v>
                </c:pt>
                <c:pt idx="18">
                  <c:v>1418</c:v>
                </c:pt>
                <c:pt idx="19">
                  <c:v>1419</c:v>
                </c:pt>
                <c:pt idx="20">
                  <c:v>1420</c:v>
                </c:pt>
                <c:pt idx="21">
                  <c:v>1421</c:v>
                </c:pt>
                <c:pt idx="22">
                  <c:v>1422</c:v>
                </c:pt>
                <c:pt idx="23">
                  <c:v>1423</c:v>
                </c:pt>
                <c:pt idx="24">
                  <c:v>1424</c:v>
                </c:pt>
                <c:pt idx="25">
                  <c:v>1425</c:v>
                </c:pt>
                <c:pt idx="26">
                  <c:v>1426</c:v>
                </c:pt>
                <c:pt idx="27">
                  <c:v>1427</c:v>
                </c:pt>
                <c:pt idx="28">
                  <c:v>1428</c:v>
                </c:pt>
                <c:pt idx="29">
                  <c:v>1429</c:v>
                </c:pt>
                <c:pt idx="30">
                  <c:v>1430</c:v>
                </c:pt>
                <c:pt idx="31">
                  <c:v>1431</c:v>
                </c:pt>
                <c:pt idx="32">
                  <c:v>1432</c:v>
                </c:pt>
                <c:pt idx="33">
                  <c:v>1433</c:v>
                </c:pt>
                <c:pt idx="34">
                  <c:v>1434p</c:v>
                </c:pt>
              </c:strCache>
            </c:strRef>
          </c:cat>
          <c:val>
            <c:numRef>
              <c:f>Sheet1!$D$7:$AL$7</c:f>
              <c:numCache>
                <c:formatCode>General</c:formatCode>
                <c:ptCount val="35"/>
                <c:pt idx="0">
                  <c:v>35.25</c:v>
                </c:pt>
                <c:pt idx="1">
                  <c:v>33.75</c:v>
                </c:pt>
                <c:pt idx="2">
                  <c:v>54.600000000000009</c:v>
                </c:pt>
                <c:pt idx="3">
                  <c:v>42</c:v>
                </c:pt>
                <c:pt idx="4">
                  <c:v>29.400000000000002</c:v>
                </c:pt>
                <c:pt idx="5">
                  <c:v>9.75</c:v>
                </c:pt>
                <c:pt idx="6">
                  <c:v>44.25</c:v>
                </c:pt>
                <c:pt idx="7">
                  <c:v>34.349999999999994</c:v>
                </c:pt>
                <c:pt idx="8">
                  <c:v>59.849999999999994</c:v>
                </c:pt>
                <c:pt idx="9">
                  <c:v>39.300000000000004</c:v>
                </c:pt>
                <c:pt idx="10">
                  <c:v>22.5</c:v>
                </c:pt>
                <c:pt idx="11">
                  <c:v>29.25</c:v>
                </c:pt>
                <c:pt idx="12">
                  <c:v>39.450000000000003</c:v>
                </c:pt>
                <c:pt idx="13">
                  <c:v>22.5</c:v>
                </c:pt>
                <c:pt idx="14">
                  <c:v>39.150000000000006</c:v>
                </c:pt>
                <c:pt idx="15">
                  <c:v>20.100000000000001</c:v>
                </c:pt>
                <c:pt idx="16">
                  <c:v>53.550000000000004</c:v>
                </c:pt>
                <c:pt idx="17">
                  <c:v>89.25</c:v>
                </c:pt>
                <c:pt idx="18">
                  <c:v>56.849999999999994</c:v>
                </c:pt>
                <c:pt idx="19">
                  <c:v>71.25</c:v>
                </c:pt>
                <c:pt idx="20">
                  <c:v>99.600000000000009</c:v>
                </c:pt>
                <c:pt idx="21">
                  <c:v>165.60000000000002</c:v>
                </c:pt>
                <c:pt idx="22">
                  <c:v>255.9</c:v>
                </c:pt>
                <c:pt idx="23">
                  <c:v>168.14999999999998</c:v>
                </c:pt>
                <c:pt idx="24">
                  <c:v>346.35</c:v>
                </c:pt>
                <c:pt idx="25">
                  <c:v>377.85</c:v>
                </c:pt>
                <c:pt idx="26">
                  <c:v>242.4</c:v>
                </c:pt>
                <c:pt idx="27">
                  <c:v>444.75</c:v>
                </c:pt>
                <c:pt idx="28">
                  <c:v>215.54999999999998</c:v>
                </c:pt>
                <c:pt idx="29">
                  <c:v>551.25</c:v>
                </c:pt>
                <c:pt idx="30">
                  <c:v>796.19999999999993</c:v>
                </c:pt>
                <c:pt idx="31">
                  <c:v>906.59999999999991</c:v>
                </c:pt>
                <c:pt idx="32">
                  <c:v>418.95000000000005</c:v>
                </c:pt>
                <c:pt idx="33">
                  <c:v>353.25</c:v>
                </c:pt>
                <c:pt idx="34">
                  <c:v>1090</c:v>
                </c:pt>
              </c:numCache>
            </c:numRef>
          </c:val>
        </c:ser>
        <c:marker val="1"/>
        <c:axId val="62345984"/>
        <c:axId val="62347520"/>
      </c:lineChart>
      <c:catAx>
        <c:axId val="62345984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US"/>
            </a:pPr>
            <a:endParaRPr lang="fr-FR"/>
          </a:p>
        </c:txPr>
        <c:crossAx val="62347520"/>
        <c:crosses val="autoZero"/>
        <c:auto val="1"/>
        <c:lblAlgn val="ctr"/>
        <c:lblOffset val="100"/>
      </c:catAx>
      <c:valAx>
        <c:axId val="6234752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en-US"/>
            </a:pPr>
            <a:endParaRPr lang="fr-FR"/>
          </a:p>
        </c:txPr>
        <c:crossAx val="62345984"/>
        <c:crosses val="autoZero"/>
        <c:crossBetween val="between"/>
      </c:valAx>
    </c:plotArea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5CA812-DDE7-4EE1-86DE-71BCEF5417B8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fr-FR"/>
        </a:p>
      </dgm:t>
    </dgm:pt>
    <dgm:pt modelId="{1965C823-EB6A-447A-B829-F01952CF5B80}">
      <dgm:prSet/>
      <dgm:spPr/>
      <dgm:t>
        <a:bodyPr/>
        <a:lstStyle/>
        <a:p>
          <a:pPr rtl="0"/>
          <a:r>
            <a:rPr lang="en-US" b="1" smtClean="0"/>
            <a:t>Reform IDB</a:t>
          </a:r>
          <a:endParaRPr lang="fr-FR" b="1"/>
        </a:p>
      </dgm:t>
    </dgm:pt>
    <dgm:pt modelId="{9234B660-5E34-42F8-876E-5D16A4A7D92C}" type="parTrans" cxnId="{C50670D6-A7DF-4333-B950-FDE27B24E4E4}">
      <dgm:prSet/>
      <dgm:spPr/>
      <dgm:t>
        <a:bodyPr/>
        <a:lstStyle/>
        <a:p>
          <a:endParaRPr lang="fr-FR"/>
        </a:p>
      </dgm:t>
    </dgm:pt>
    <dgm:pt modelId="{4C290131-945D-4572-8BCB-9B3C90FA59D6}" type="sibTrans" cxnId="{C50670D6-A7DF-4333-B950-FDE27B24E4E4}">
      <dgm:prSet/>
      <dgm:spPr/>
      <dgm:t>
        <a:bodyPr/>
        <a:lstStyle/>
        <a:p>
          <a:endParaRPr lang="fr-FR"/>
        </a:p>
      </dgm:t>
    </dgm:pt>
    <dgm:pt modelId="{C5E55EAF-D0BF-4A00-AE9F-6C5448D7F969}">
      <dgm:prSet/>
      <dgm:spPr/>
      <dgm:t>
        <a:bodyPr/>
        <a:lstStyle/>
        <a:p>
          <a:pPr rtl="0"/>
          <a:r>
            <a:rPr lang="en-US" b="1" smtClean="0"/>
            <a:t>Alleviate Poverty</a:t>
          </a:r>
          <a:endParaRPr lang="fr-FR" b="1"/>
        </a:p>
      </dgm:t>
    </dgm:pt>
    <dgm:pt modelId="{7A9CAFF4-26E5-4C39-A169-91B660D456DF}" type="parTrans" cxnId="{09A0BF60-CA1B-4F2D-8839-53EC6B73D42C}">
      <dgm:prSet/>
      <dgm:spPr/>
      <dgm:t>
        <a:bodyPr/>
        <a:lstStyle/>
        <a:p>
          <a:endParaRPr lang="fr-FR"/>
        </a:p>
      </dgm:t>
    </dgm:pt>
    <dgm:pt modelId="{6776E0FC-F5BE-4FDD-8ED6-BF44CB47321A}" type="sibTrans" cxnId="{09A0BF60-CA1B-4F2D-8839-53EC6B73D42C}">
      <dgm:prSet/>
      <dgm:spPr/>
      <dgm:t>
        <a:bodyPr/>
        <a:lstStyle/>
        <a:p>
          <a:endParaRPr lang="fr-FR"/>
        </a:p>
      </dgm:t>
    </dgm:pt>
    <dgm:pt modelId="{B3689B65-2DF9-4C9B-87A6-95ADD40BE67A}">
      <dgm:prSet/>
      <dgm:spPr/>
      <dgm:t>
        <a:bodyPr/>
        <a:lstStyle/>
        <a:p>
          <a:pPr rtl="0"/>
          <a:r>
            <a:rPr lang="en-US" b="1" smtClean="0"/>
            <a:t>Promote Health</a:t>
          </a:r>
          <a:endParaRPr lang="fr-FR" b="1"/>
        </a:p>
      </dgm:t>
    </dgm:pt>
    <dgm:pt modelId="{CFB5B6C1-9111-47A7-8124-1F28A51D2086}" type="parTrans" cxnId="{797D8148-6459-45F6-BA66-6EEC59848C75}">
      <dgm:prSet/>
      <dgm:spPr/>
      <dgm:t>
        <a:bodyPr/>
        <a:lstStyle/>
        <a:p>
          <a:endParaRPr lang="fr-FR"/>
        </a:p>
      </dgm:t>
    </dgm:pt>
    <dgm:pt modelId="{F20CA29D-32D0-4606-98A4-37228C762469}" type="sibTrans" cxnId="{797D8148-6459-45F6-BA66-6EEC59848C75}">
      <dgm:prSet/>
      <dgm:spPr/>
      <dgm:t>
        <a:bodyPr/>
        <a:lstStyle/>
        <a:p>
          <a:endParaRPr lang="fr-FR"/>
        </a:p>
      </dgm:t>
    </dgm:pt>
    <dgm:pt modelId="{B421CD05-6FF1-4766-AC3A-ABEC3088CE83}">
      <dgm:prSet/>
      <dgm:spPr/>
      <dgm:t>
        <a:bodyPr/>
        <a:lstStyle/>
        <a:p>
          <a:pPr rtl="0"/>
          <a:r>
            <a:rPr lang="en-US" b="1" smtClean="0"/>
            <a:t>Universalize Education</a:t>
          </a:r>
          <a:endParaRPr lang="fr-FR" b="1"/>
        </a:p>
      </dgm:t>
    </dgm:pt>
    <dgm:pt modelId="{5D5FF790-6F99-4F82-B0D4-826B86A1903E}" type="parTrans" cxnId="{33A2FD72-C79D-4E0D-83F0-AB53054F5C13}">
      <dgm:prSet/>
      <dgm:spPr/>
      <dgm:t>
        <a:bodyPr/>
        <a:lstStyle/>
        <a:p>
          <a:endParaRPr lang="fr-FR"/>
        </a:p>
      </dgm:t>
    </dgm:pt>
    <dgm:pt modelId="{39F89657-3975-4523-B490-1FBF9600F0DD}" type="sibTrans" cxnId="{33A2FD72-C79D-4E0D-83F0-AB53054F5C13}">
      <dgm:prSet/>
      <dgm:spPr/>
      <dgm:t>
        <a:bodyPr/>
        <a:lstStyle/>
        <a:p>
          <a:endParaRPr lang="fr-FR"/>
        </a:p>
      </dgm:t>
    </dgm:pt>
    <dgm:pt modelId="{3878C5B2-044E-48FD-AD84-9F37F6F5E8D6}">
      <dgm:prSet/>
      <dgm:spPr/>
      <dgm:t>
        <a:bodyPr/>
        <a:lstStyle/>
        <a:p>
          <a:pPr rtl="0"/>
          <a:r>
            <a:rPr lang="en-US" b="1" smtClean="0"/>
            <a:t>Prosper the people</a:t>
          </a:r>
          <a:endParaRPr lang="fr-FR" b="1"/>
        </a:p>
      </dgm:t>
    </dgm:pt>
    <dgm:pt modelId="{1793FFE8-205C-4DC8-A420-27436E262432}" type="parTrans" cxnId="{95F34445-C9F8-4ACA-B9D3-FF3840191CD7}">
      <dgm:prSet/>
      <dgm:spPr/>
      <dgm:t>
        <a:bodyPr/>
        <a:lstStyle/>
        <a:p>
          <a:endParaRPr lang="fr-FR"/>
        </a:p>
      </dgm:t>
    </dgm:pt>
    <dgm:pt modelId="{DBE9A26B-172D-4F16-BCDB-FEE37236F10B}" type="sibTrans" cxnId="{95F34445-C9F8-4ACA-B9D3-FF3840191CD7}">
      <dgm:prSet/>
      <dgm:spPr/>
      <dgm:t>
        <a:bodyPr/>
        <a:lstStyle/>
        <a:p>
          <a:endParaRPr lang="fr-FR"/>
        </a:p>
      </dgm:t>
    </dgm:pt>
    <dgm:pt modelId="{AF5446BF-430B-4BB0-B06C-BCEF613BA987}">
      <dgm:prSet/>
      <dgm:spPr/>
      <dgm:t>
        <a:bodyPr/>
        <a:lstStyle/>
        <a:p>
          <a:pPr rtl="0"/>
          <a:r>
            <a:rPr lang="en-US" b="1" dirty="0" smtClean="0"/>
            <a:t>Empower the Sisters of Islam without breaching the tenets of Islam</a:t>
          </a:r>
          <a:endParaRPr lang="fr-FR" b="1" dirty="0"/>
        </a:p>
      </dgm:t>
    </dgm:pt>
    <dgm:pt modelId="{118A8616-0870-4E50-A68B-75BFAC06B3C9}" type="parTrans" cxnId="{8C145898-F166-4DB2-B3B0-53A108173707}">
      <dgm:prSet/>
      <dgm:spPr/>
      <dgm:t>
        <a:bodyPr/>
        <a:lstStyle/>
        <a:p>
          <a:endParaRPr lang="fr-FR"/>
        </a:p>
      </dgm:t>
    </dgm:pt>
    <dgm:pt modelId="{7D94EF52-D5A7-4377-AA5F-E3037D2748C8}" type="sibTrans" cxnId="{8C145898-F166-4DB2-B3B0-53A108173707}">
      <dgm:prSet/>
      <dgm:spPr/>
      <dgm:t>
        <a:bodyPr/>
        <a:lstStyle/>
        <a:p>
          <a:endParaRPr lang="fr-FR"/>
        </a:p>
      </dgm:t>
    </dgm:pt>
    <dgm:pt modelId="{FBF7CE12-4343-4B80-B734-42258A6837DD}">
      <dgm:prSet/>
      <dgm:spPr/>
      <dgm:t>
        <a:bodyPr/>
        <a:lstStyle/>
        <a:p>
          <a:pPr rtl="0"/>
          <a:r>
            <a:rPr lang="en-US" b="1" dirty="0" smtClean="0"/>
            <a:t>Expand the Islamic Financial Industry</a:t>
          </a:r>
          <a:endParaRPr lang="fr-FR" b="1" dirty="0"/>
        </a:p>
      </dgm:t>
    </dgm:pt>
    <dgm:pt modelId="{E3B5DAA3-7274-4D62-93C0-6A3699C9BBDD}" type="parTrans" cxnId="{F148B8DA-54C1-47B3-AA29-D88E6806226D}">
      <dgm:prSet/>
      <dgm:spPr/>
      <dgm:t>
        <a:bodyPr/>
        <a:lstStyle/>
        <a:p>
          <a:endParaRPr lang="fr-FR"/>
        </a:p>
      </dgm:t>
    </dgm:pt>
    <dgm:pt modelId="{D53395A6-68CC-4410-BE5E-97AD632B13A0}" type="sibTrans" cxnId="{F148B8DA-54C1-47B3-AA29-D88E6806226D}">
      <dgm:prSet/>
      <dgm:spPr/>
      <dgm:t>
        <a:bodyPr/>
        <a:lstStyle/>
        <a:p>
          <a:endParaRPr lang="fr-FR"/>
        </a:p>
      </dgm:t>
    </dgm:pt>
    <dgm:pt modelId="{26BF3A9F-9C9F-43BC-AE5A-69996FEEFD18}">
      <dgm:prSet/>
      <dgm:spPr/>
      <dgm:t>
        <a:bodyPr/>
        <a:lstStyle/>
        <a:p>
          <a:pPr rtl="0"/>
          <a:r>
            <a:rPr lang="en-US" b="1" smtClean="0"/>
            <a:t>Improve the Image of the Muslim World</a:t>
          </a:r>
          <a:endParaRPr lang="fr-FR" b="1"/>
        </a:p>
      </dgm:t>
    </dgm:pt>
    <dgm:pt modelId="{910553FA-AFA6-4762-9100-DA80E1418DDE}" type="parTrans" cxnId="{BC58EB44-D97D-4311-BF4B-50DD5A475E5A}">
      <dgm:prSet/>
      <dgm:spPr/>
      <dgm:t>
        <a:bodyPr/>
        <a:lstStyle/>
        <a:p>
          <a:endParaRPr lang="fr-FR"/>
        </a:p>
      </dgm:t>
    </dgm:pt>
    <dgm:pt modelId="{9B62A6E0-08BB-4C3B-912D-0EEE1FD33CE5}" type="sibTrans" cxnId="{BC58EB44-D97D-4311-BF4B-50DD5A475E5A}">
      <dgm:prSet/>
      <dgm:spPr/>
      <dgm:t>
        <a:bodyPr/>
        <a:lstStyle/>
        <a:p>
          <a:endParaRPr lang="fr-FR"/>
        </a:p>
      </dgm:t>
    </dgm:pt>
    <dgm:pt modelId="{D58F14F9-33F0-4D73-8F0B-69A9EA6293E9}">
      <dgm:prSet/>
      <dgm:spPr/>
      <dgm:t>
        <a:bodyPr/>
        <a:lstStyle/>
        <a:p>
          <a:pPr rtl="0"/>
          <a:r>
            <a:rPr lang="en-US" b="1" dirty="0" smtClean="0"/>
            <a:t>Facilitate Integration of IDB Member Country Economies Among Themselves and with the World</a:t>
          </a:r>
          <a:endParaRPr lang="fr-FR" b="1" dirty="0"/>
        </a:p>
      </dgm:t>
    </dgm:pt>
    <dgm:pt modelId="{D496C3CB-5D17-4090-9EAE-E21E7B49099B}" type="sibTrans" cxnId="{89F87A09-D0FC-46CD-9837-98FB13198323}">
      <dgm:prSet/>
      <dgm:spPr/>
      <dgm:t>
        <a:bodyPr/>
        <a:lstStyle/>
        <a:p>
          <a:endParaRPr lang="fr-FR"/>
        </a:p>
      </dgm:t>
    </dgm:pt>
    <dgm:pt modelId="{61D77D77-E518-4259-B05C-D245A589FDBE}" type="parTrans" cxnId="{89F87A09-D0FC-46CD-9837-98FB13198323}">
      <dgm:prSet/>
      <dgm:spPr/>
      <dgm:t>
        <a:bodyPr/>
        <a:lstStyle/>
        <a:p>
          <a:endParaRPr lang="fr-FR"/>
        </a:p>
      </dgm:t>
    </dgm:pt>
    <dgm:pt modelId="{C9C8C8CD-9429-40AC-8E18-5A5264398E4D}" type="pres">
      <dgm:prSet presAssocID="{4D5CA812-DDE7-4EE1-86DE-71BCEF5417B8}" presName="Name0" presStyleCnt="0">
        <dgm:presLayoutVars>
          <dgm:dir/>
        </dgm:presLayoutVars>
      </dgm:prSet>
      <dgm:spPr/>
      <dgm:t>
        <a:bodyPr/>
        <a:lstStyle/>
        <a:p>
          <a:endParaRPr lang="en-US"/>
        </a:p>
      </dgm:t>
    </dgm:pt>
    <dgm:pt modelId="{F334031E-8FEF-4F55-9F62-4BBB6EB22131}" type="pres">
      <dgm:prSet presAssocID="{1965C823-EB6A-447A-B829-F01952CF5B80}" presName="noChildren" presStyleCnt="0"/>
      <dgm:spPr/>
    </dgm:pt>
    <dgm:pt modelId="{36DBA6BC-F2D3-465C-B510-518687865CAC}" type="pres">
      <dgm:prSet presAssocID="{1965C823-EB6A-447A-B829-F01952CF5B80}" presName="gap" presStyleCnt="0"/>
      <dgm:spPr/>
    </dgm:pt>
    <dgm:pt modelId="{E34D02CC-22E1-4B9C-8C0C-7AD56320F358}" type="pres">
      <dgm:prSet presAssocID="{1965C823-EB6A-447A-B829-F01952CF5B80}" presName="medCircle2" presStyleLbl="vennNode1" presStyleIdx="0" presStyleCnt="9"/>
      <dgm:spPr/>
    </dgm:pt>
    <dgm:pt modelId="{9442EBE9-DEBB-4045-A5A9-FEAD73498A2B}" type="pres">
      <dgm:prSet presAssocID="{1965C823-EB6A-447A-B829-F01952CF5B80}" presName="txLvlOnly1" presStyleLbl="revTx" presStyleIdx="0" presStyleCnt="9"/>
      <dgm:spPr/>
      <dgm:t>
        <a:bodyPr/>
        <a:lstStyle/>
        <a:p>
          <a:endParaRPr lang="en-US"/>
        </a:p>
      </dgm:t>
    </dgm:pt>
    <dgm:pt modelId="{3BAB21B9-A2CD-4EB0-9D33-B130CA9E6C58}" type="pres">
      <dgm:prSet presAssocID="{C5E55EAF-D0BF-4A00-AE9F-6C5448D7F969}" presName="noChildren" presStyleCnt="0"/>
      <dgm:spPr/>
    </dgm:pt>
    <dgm:pt modelId="{239458EC-89AA-49E0-87BC-516F690BC9CB}" type="pres">
      <dgm:prSet presAssocID="{C5E55EAF-D0BF-4A00-AE9F-6C5448D7F969}" presName="gap" presStyleCnt="0"/>
      <dgm:spPr/>
    </dgm:pt>
    <dgm:pt modelId="{614FA9D4-5AE5-40BF-B07F-DF677B3631F3}" type="pres">
      <dgm:prSet presAssocID="{C5E55EAF-D0BF-4A00-AE9F-6C5448D7F969}" presName="medCircle2" presStyleLbl="vennNode1" presStyleIdx="1" presStyleCnt="9"/>
      <dgm:spPr/>
    </dgm:pt>
    <dgm:pt modelId="{00F0F183-8075-499D-94C6-0BE0D036C8D5}" type="pres">
      <dgm:prSet presAssocID="{C5E55EAF-D0BF-4A00-AE9F-6C5448D7F969}" presName="txLvlOnly1" presStyleLbl="revTx" presStyleIdx="1" presStyleCnt="9"/>
      <dgm:spPr/>
      <dgm:t>
        <a:bodyPr/>
        <a:lstStyle/>
        <a:p>
          <a:endParaRPr lang="en-US"/>
        </a:p>
      </dgm:t>
    </dgm:pt>
    <dgm:pt modelId="{764FFC10-38F0-4A1B-AAEE-3166FE4626E6}" type="pres">
      <dgm:prSet presAssocID="{B3689B65-2DF9-4C9B-87A6-95ADD40BE67A}" presName="noChildren" presStyleCnt="0"/>
      <dgm:spPr/>
    </dgm:pt>
    <dgm:pt modelId="{2A4E9310-55EB-411C-A69E-C6B9F54EC94A}" type="pres">
      <dgm:prSet presAssocID="{B3689B65-2DF9-4C9B-87A6-95ADD40BE67A}" presName="gap" presStyleCnt="0"/>
      <dgm:spPr/>
    </dgm:pt>
    <dgm:pt modelId="{B7A050D9-2C3B-4695-AD6F-5E77FE90ADE5}" type="pres">
      <dgm:prSet presAssocID="{B3689B65-2DF9-4C9B-87A6-95ADD40BE67A}" presName="medCircle2" presStyleLbl="vennNode1" presStyleIdx="2" presStyleCnt="9"/>
      <dgm:spPr/>
    </dgm:pt>
    <dgm:pt modelId="{6CFC2DF0-B767-4083-A0CE-5F9704FCF919}" type="pres">
      <dgm:prSet presAssocID="{B3689B65-2DF9-4C9B-87A6-95ADD40BE67A}" presName="txLvlOnly1" presStyleLbl="revTx" presStyleIdx="2" presStyleCnt="9"/>
      <dgm:spPr/>
      <dgm:t>
        <a:bodyPr/>
        <a:lstStyle/>
        <a:p>
          <a:endParaRPr lang="en-US"/>
        </a:p>
      </dgm:t>
    </dgm:pt>
    <dgm:pt modelId="{11C0C903-F886-4348-A4D9-580676CF255F}" type="pres">
      <dgm:prSet presAssocID="{B421CD05-6FF1-4766-AC3A-ABEC3088CE83}" presName="noChildren" presStyleCnt="0"/>
      <dgm:spPr/>
    </dgm:pt>
    <dgm:pt modelId="{337D586B-2ADB-45B4-B28B-0F5897E4C32D}" type="pres">
      <dgm:prSet presAssocID="{B421CD05-6FF1-4766-AC3A-ABEC3088CE83}" presName="gap" presStyleCnt="0"/>
      <dgm:spPr/>
    </dgm:pt>
    <dgm:pt modelId="{354F393F-330B-4FCD-A6F8-80C4EC65A416}" type="pres">
      <dgm:prSet presAssocID="{B421CD05-6FF1-4766-AC3A-ABEC3088CE83}" presName="medCircle2" presStyleLbl="vennNode1" presStyleIdx="3" presStyleCnt="9"/>
      <dgm:spPr/>
    </dgm:pt>
    <dgm:pt modelId="{2CF02A25-0E67-4B31-AC44-EE1D1394B833}" type="pres">
      <dgm:prSet presAssocID="{B421CD05-6FF1-4766-AC3A-ABEC3088CE83}" presName="txLvlOnly1" presStyleLbl="revTx" presStyleIdx="3" presStyleCnt="9"/>
      <dgm:spPr/>
      <dgm:t>
        <a:bodyPr/>
        <a:lstStyle/>
        <a:p>
          <a:endParaRPr lang="en-US"/>
        </a:p>
      </dgm:t>
    </dgm:pt>
    <dgm:pt modelId="{A8B8CB7B-D832-40F8-93EE-20A7A230AB3A}" type="pres">
      <dgm:prSet presAssocID="{3878C5B2-044E-48FD-AD84-9F37F6F5E8D6}" presName="noChildren" presStyleCnt="0"/>
      <dgm:spPr/>
    </dgm:pt>
    <dgm:pt modelId="{71B88059-B204-43F0-90A7-59500A5705E9}" type="pres">
      <dgm:prSet presAssocID="{3878C5B2-044E-48FD-AD84-9F37F6F5E8D6}" presName="gap" presStyleCnt="0"/>
      <dgm:spPr/>
    </dgm:pt>
    <dgm:pt modelId="{1A87C913-B07B-4722-BF9E-63FABD986A4F}" type="pres">
      <dgm:prSet presAssocID="{3878C5B2-044E-48FD-AD84-9F37F6F5E8D6}" presName="medCircle2" presStyleLbl="vennNode1" presStyleIdx="4" presStyleCnt="9"/>
      <dgm:spPr/>
    </dgm:pt>
    <dgm:pt modelId="{52F67E15-2C7F-436E-9E21-23C1142C520F}" type="pres">
      <dgm:prSet presAssocID="{3878C5B2-044E-48FD-AD84-9F37F6F5E8D6}" presName="txLvlOnly1" presStyleLbl="revTx" presStyleIdx="4" presStyleCnt="9"/>
      <dgm:spPr/>
      <dgm:t>
        <a:bodyPr/>
        <a:lstStyle/>
        <a:p>
          <a:endParaRPr lang="en-US"/>
        </a:p>
      </dgm:t>
    </dgm:pt>
    <dgm:pt modelId="{BE9B4722-1327-4604-9B95-8F00C5E4B149}" type="pres">
      <dgm:prSet presAssocID="{AF5446BF-430B-4BB0-B06C-BCEF613BA987}" presName="noChildren" presStyleCnt="0"/>
      <dgm:spPr/>
    </dgm:pt>
    <dgm:pt modelId="{D60B1CF1-D732-4983-A458-80860B8236DA}" type="pres">
      <dgm:prSet presAssocID="{AF5446BF-430B-4BB0-B06C-BCEF613BA987}" presName="gap" presStyleCnt="0"/>
      <dgm:spPr/>
    </dgm:pt>
    <dgm:pt modelId="{34F2B14B-35CA-4B8C-9688-A2CC504C899E}" type="pres">
      <dgm:prSet presAssocID="{AF5446BF-430B-4BB0-B06C-BCEF613BA987}" presName="medCircle2" presStyleLbl="vennNode1" presStyleIdx="5" presStyleCnt="9"/>
      <dgm:spPr/>
    </dgm:pt>
    <dgm:pt modelId="{FF38BFBB-E311-45FA-B19B-196801317B02}" type="pres">
      <dgm:prSet presAssocID="{AF5446BF-430B-4BB0-B06C-BCEF613BA987}" presName="txLvlOnly1" presStyleLbl="revTx" presStyleIdx="5" presStyleCnt="9"/>
      <dgm:spPr/>
      <dgm:t>
        <a:bodyPr/>
        <a:lstStyle/>
        <a:p>
          <a:endParaRPr lang="en-US"/>
        </a:p>
      </dgm:t>
    </dgm:pt>
    <dgm:pt modelId="{920CCAE8-22F9-46A1-9A7A-7F13D2A25574}" type="pres">
      <dgm:prSet presAssocID="{FBF7CE12-4343-4B80-B734-42258A6837DD}" presName="noChildren" presStyleCnt="0"/>
      <dgm:spPr/>
    </dgm:pt>
    <dgm:pt modelId="{7F04F304-6D49-456F-8FA8-5D02AA93B28B}" type="pres">
      <dgm:prSet presAssocID="{FBF7CE12-4343-4B80-B734-42258A6837DD}" presName="gap" presStyleCnt="0"/>
      <dgm:spPr/>
    </dgm:pt>
    <dgm:pt modelId="{EACBB2C2-47A0-476C-B204-EC059EADD16A}" type="pres">
      <dgm:prSet presAssocID="{FBF7CE12-4343-4B80-B734-42258A6837DD}" presName="medCircle2" presStyleLbl="vennNode1" presStyleIdx="6" presStyleCnt="9"/>
      <dgm:spPr/>
    </dgm:pt>
    <dgm:pt modelId="{45C57F85-BEAC-41F3-A028-2E0EBD9D04AD}" type="pres">
      <dgm:prSet presAssocID="{FBF7CE12-4343-4B80-B734-42258A6837DD}" presName="txLvlOnly1" presStyleLbl="revTx" presStyleIdx="6" presStyleCnt="9"/>
      <dgm:spPr/>
      <dgm:t>
        <a:bodyPr/>
        <a:lstStyle/>
        <a:p>
          <a:endParaRPr lang="en-US"/>
        </a:p>
      </dgm:t>
    </dgm:pt>
    <dgm:pt modelId="{6E52F455-1E58-4C3D-9EFC-726312C292F5}" type="pres">
      <dgm:prSet presAssocID="{D58F14F9-33F0-4D73-8F0B-69A9EA6293E9}" presName="noChildren" presStyleCnt="0"/>
      <dgm:spPr/>
    </dgm:pt>
    <dgm:pt modelId="{44E8307C-98A0-42E2-B00E-CB1999192E4B}" type="pres">
      <dgm:prSet presAssocID="{D58F14F9-33F0-4D73-8F0B-69A9EA6293E9}" presName="gap" presStyleCnt="0"/>
      <dgm:spPr/>
    </dgm:pt>
    <dgm:pt modelId="{8BEAD3C5-FB99-49BE-A86A-FE63543DB78F}" type="pres">
      <dgm:prSet presAssocID="{D58F14F9-33F0-4D73-8F0B-69A9EA6293E9}" presName="medCircle2" presStyleLbl="vennNode1" presStyleIdx="7" presStyleCnt="9"/>
      <dgm:spPr/>
    </dgm:pt>
    <dgm:pt modelId="{E9F3C241-171E-4FF5-BFDB-F26F094A9BC4}" type="pres">
      <dgm:prSet presAssocID="{D58F14F9-33F0-4D73-8F0B-69A9EA6293E9}" presName="txLvlOnly1" presStyleLbl="revTx" presStyleIdx="7" presStyleCnt="9"/>
      <dgm:spPr/>
      <dgm:t>
        <a:bodyPr/>
        <a:lstStyle/>
        <a:p>
          <a:endParaRPr lang="en-US"/>
        </a:p>
      </dgm:t>
    </dgm:pt>
    <dgm:pt modelId="{2622D0AB-0D99-42F7-8343-0E60E9970874}" type="pres">
      <dgm:prSet presAssocID="{26BF3A9F-9C9F-43BC-AE5A-69996FEEFD18}" presName="noChildren" presStyleCnt="0"/>
      <dgm:spPr/>
    </dgm:pt>
    <dgm:pt modelId="{4DE60658-3154-4E53-AF30-A97A5382E6B6}" type="pres">
      <dgm:prSet presAssocID="{26BF3A9F-9C9F-43BC-AE5A-69996FEEFD18}" presName="gap" presStyleCnt="0"/>
      <dgm:spPr/>
    </dgm:pt>
    <dgm:pt modelId="{38EB5F50-59FC-45D1-BC9C-14AE631FD151}" type="pres">
      <dgm:prSet presAssocID="{26BF3A9F-9C9F-43BC-AE5A-69996FEEFD18}" presName="medCircle2" presStyleLbl="vennNode1" presStyleIdx="8" presStyleCnt="9"/>
      <dgm:spPr/>
    </dgm:pt>
    <dgm:pt modelId="{E78A47F3-E022-4473-86D2-FE5B0CC69CE0}" type="pres">
      <dgm:prSet presAssocID="{26BF3A9F-9C9F-43BC-AE5A-69996FEEFD18}" presName="txLvlOnly1" presStyleLbl="revTx" presStyleIdx="8" presStyleCnt="9"/>
      <dgm:spPr/>
      <dgm:t>
        <a:bodyPr/>
        <a:lstStyle/>
        <a:p>
          <a:endParaRPr lang="en-US"/>
        </a:p>
      </dgm:t>
    </dgm:pt>
  </dgm:ptLst>
  <dgm:cxnLst>
    <dgm:cxn modelId="{8C145898-F166-4DB2-B3B0-53A108173707}" srcId="{4D5CA812-DDE7-4EE1-86DE-71BCEF5417B8}" destId="{AF5446BF-430B-4BB0-B06C-BCEF613BA987}" srcOrd="5" destOrd="0" parTransId="{118A8616-0870-4E50-A68B-75BFAC06B3C9}" sibTransId="{7D94EF52-D5A7-4377-AA5F-E3037D2748C8}"/>
    <dgm:cxn modelId="{95F34445-C9F8-4ACA-B9D3-FF3840191CD7}" srcId="{4D5CA812-DDE7-4EE1-86DE-71BCEF5417B8}" destId="{3878C5B2-044E-48FD-AD84-9F37F6F5E8D6}" srcOrd="4" destOrd="0" parTransId="{1793FFE8-205C-4DC8-A420-27436E262432}" sibTransId="{DBE9A26B-172D-4F16-BCDB-FEE37236F10B}"/>
    <dgm:cxn modelId="{C50670D6-A7DF-4333-B950-FDE27B24E4E4}" srcId="{4D5CA812-DDE7-4EE1-86DE-71BCEF5417B8}" destId="{1965C823-EB6A-447A-B829-F01952CF5B80}" srcOrd="0" destOrd="0" parTransId="{9234B660-5E34-42F8-876E-5D16A4A7D92C}" sibTransId="{4C290131-945D-4572-8BCB-9B3C90FA59D6}"/>
    <dgm:cxn modelId="{89F87A09-D0FC-46CD-9837-98FB13198323}" srcId="{4D5CA812-DDE7-4EE1-86DE-71BCEF5417B8}" destId="{D58F14F9-33F0-4D73-8F0B-69A9EA6293E9}" srcOrd="7" destOrd="0" parTransId="{61D77D77-E518-4259-B05C-D245A589FDBE}" sibTransId="{D496C3CB-5D17-4090-9EAE-E21E7B49099B}"/>
    <dgm:cxn modelId="{F148B8DA-54C1-47B3-AA29-D88E6806226D}" srcId="{4D5CA812-DDE7-4EE1-86DE-71BCEF5417B8}" destId="{FBF7CE12-4343-4B80-B734-42258A6837DD}" srcOrd="6" destOrd="0" parTransId="{E3B5DAA3-7274-4D62-93C0-6A3699C9BBDD}" sibTransId="{D53395A6-68CC-4410-BE5E-97AD632B13A0}"/>
    <dgm:cxn modelId="{797D8148-6459-45F6-BA66-6EEC59848C75}" srcId="{4D5CA812-DDE7-4EE1-86DE-71BCEF5417B8}" destId="{B3689B65-2DF9-4C9B-87A6-95ADD40BE67A}" srcOrd="2" destOrd="0" parTransId="{CFB5B6C1-9111-47A7-8124-1F28A51D2086}" sibTransId="{F20CA29D-32D0-4606-98A4-37228C762469}"/>
    <dgm:cxn modelId="{6E98FB50-19A6-4262-BC88-810448D4686F}" type="presOf" srcId="{FBF7CE12-4343-4B80-B734-42258A6837DD}" destId="{45C57F85-BEAC-41F3-A028-2E0EBD9D04AD}" srcOrd="0" destOrd="0" presId="urn:microsoft.com/office/officeart/2008/layout/VerticalCircleList"/>
    <dgm:cxn modelId="{E6B31A19-E67C-4DCF-A6F6-51968E3FA240}" type="presOf" srcId="{C5E55EAF-D0BF-4A00-AE9F-6C5448D7F969}" destId="{00F0F183-8075-499D-94C6-0BE0D036C8D5}" srcOrd="0" destOrd="0" presId="urn:microsoft.com/office/officeart/2008/layout/VerticalCircleList"/>
    <dgm:cxn modelId="{33A2FD72-C79D-4E0D-83F0-AB53054F5C13}" srcId="{4D5CA812-DDE7-4EE1-86DE-71BCEF5417B8}" destId="{B421CD05-6FF1-4766-AC3A-ABEC3088CE83}" srcOrd="3" destOrd="0" parTransId="{5D5FF790-6F99-4F82-B0D4-826B86A1903E}" sibTransId="{39F89657-3975-4523-B490-1FBF9600F0DD}"/>
    <dgm:cxn modelId="{698178E2-2211-4405-A3EE-BBE731A8E293}" type="presOf" srcId="{1965C823-EB6A-447A-B829-F01952CF5B80}" destId="{9442EBE9-DEBB-4045-A5A9-FEAD73498A2B}" srcOrd="0" destOrd="0" presId="urn:microsoft.com/office/officeart/2008/layout/VerticalCircleList"/>
    <dgm:cxn modelId="{09A0BF60-CA1B-4F2D-8839-53EC6B73D42C}" srcId="{4D5CA812-DDE7-4EE1-86DE-71BCEF5417B8}" destId="{C5E55EAF-D0BF-4A00-AE9F-6C5448D7F969}" srcOrd="1" destOrd="0" parTransId="{7A9CAFF4-26E5-4C39-A169-91B660D456DF}" sibTransId="{6776E0FC-F5BE-4FDD-8ED6-BF44CB47321A}"/>
    <dgm:cxn modelId="{F5E5FD6D-5D9B-4818-9272-F16025DB9EB7}" type="presOf" srcId="{3878C5B2-044E-48FD-AD84-9F37F6F5E8D6}" destId="{52F67E15-2C7F-436E-9E21-23C1142C520F}" srcOrd="0" destOrd="0" presId="urn:microsoft.com/office/officeart/2008/layout/VerticalCircleList"/>
    <dgm:cxn modelId="{2178DD93-D52F-413C-A574-8A1A60A7E3F5}" type="presOf" srcId="{AF5446BF-430B-4BB0-B06C-BCEF613BA987}" destId="{FF38BFBB-E311-45FA-B19B-196801317B02}" srcOrd="0" destOrd="0" presId="urn:microsoft.com/office/officeart/2008/layout/VerticalCircleList"/>
    <dgm:cxn modelId="{455E8A9D-8F6D-4644-8C6A-DD764213EB6C}" type="presOf" srcId="{B3689B65-2DF9-4C9B-87A6-95ADD40BE67A}" destId="{6CFC2DF0-B767-4083-A0CE-5F9704FCF919}" srcOrd="0" destOrd="0" presId="urn:microsoft.com/office/officeart/2008/layout/VerticalCircleList"/>
    <dgm:cxn modelId="{11341153-4059-4D82-A0C1-E0533FFF3A45}" type="presOf" srcId="{26BF3A9F-9C9F-43BC-AE5A-69996FEEFD18}" destId="{E78A47F3-E022-4473-86D2-FE5B0CC69CE0}" srcOrd="0" destOrd="0" presId="urn:microsoft.com/office/officeart/2008/layout/VerticalCircleList"/>
    <dgm:cxn modelId="{BEBEBFBF-A7ED-49AD-9A93-5929B0285FCE}" type="presOf" srcId="{B421CD05-6FF1-4766-AC3A-ABEC3088CE83}" destId="{2CF02A25-0E67-4B31-AC44-EE1D1394B833}" srcOrd="0" destOrd="0" presId="urn:microsoft.com/office/officeart/2008/layout/VerticalCircleList"/>
    <dgm:cxn modelId="{5C67E5CA-E711-4700-89C9-549760391CCA}" type="presOf" srcId="{4D5CA812-DDE7-4EE1-86DE-71BCEF5417B8}" destId="{C9C8C8CD-9429-40AC-8E18-5A5264398E4D}" srcOrd="0" destOrd="0" presId="urn:microsoft.com/office/officeart/2008/layout/VerticalCircleList"/>
    <dgm:cxn modelId="{BC58EB44-D97D-4311-BF4B-50DD5A475E5A}" srcId="{4D5CA812-DDE7-4EE1-86DE-71BCEF5417B8}" destId="{26BF3A9F-9C9F-43BC-AE5A-69996FEEFD18}" srcOrd="8" destOrd="0" parTransId="{910553FA-AFA6-4762-9100-DA80E1418DDE}" sibTransId="{9B62A6E0-08BB-4C3B-912D-0EEE1FD33CE5}"/>
    <dgm:cxn modelId="{49C8B0B6-5A25-470B-A120-8CDE173BB83E}" type="presOf" srcId="{D58F14F9-33F0-4D73-8F0B-69A9EA6293E9}" destId="{E9F3C241-171E-4FF5-BFDB-F26F094A9BC4}" srcOrd="0" destOrd="0" presId="urn:microsoft.com/office/officeart/2008/layout/VerticalCircleList"/>
    <dgm:cxn modelId="{B891221B-0BEC-4844-BEE5-8764B3C1CEC8}" type="presParOf" srcId="{C9C8C8CD-9429-40AC-8E18-5A5264398E4D}" destId="{F334031E-8FEF-4F55-9F62-4BBB6EB22131}" srcOrd="0" destOrd="0" presId="urn:microsoft.com/office/officeart/2008/layout/VerticalCircleList"/>
    <dgm:cxn modelId="{C0C33C7F-AA62-41CF-9686-8D467A20572A}" type="presParOf" srcId="{F334031E-8FEF-4F55-9F62-4BBB6EB22131}" destId="{36DBA6BC-F2D3-465C-B510-518687865CAC}" srcOrd="0" destOrd="0" presId="urn:microsoft.com/office/officeart/2008/layout/VerticalCircleList"/>
    <dgm:cxn modelId="{8AFAD056-ED57-4581-8278-E0F8FA15B011}" type="presParOf" srcId="{F334031E-8FEF-4F55-9F62-4BBB6EB22131}" destId="{E34D02CC-22E1-4B9C-8C0C-7AD56320F358}" srcOrd="1" destOrd="0" presId="urn:microsoft.com/office/officeart/2008/layout/VerticalCircleList"/>
    <dgm:cxn modelId="{B83806E9-D702-4C3D-B0E4-577D35155884}" type="presParOf" srcId="{F334031E-8FEF-4F55-9F62-4BBB6EB22131}" destId="{9442EBE9-DEBB-4045-A5A9-FEAD73498A2B}" srcOrd="2" destOrd="0" presId="urn:microsoft.com/office/officeart/2008/layout/VerticalCircleList"/>
    <dgm:cxn modelId="{FF3BDF92-883C-430B-9756-A2C9339FDA0C}" type="presParOf" srcId="{C9C8C8CD-9429-40AC-8E18-5A5264398E4D}" destId="{3BAB21B9-A2CD-4EB0-9D33-B130CA9E6C58}" srcOrd="1" destOrd="0" presId="urn:microsoft.com/office/officeart/2008/layout/VerticalCircleList"/>
    <dgm:cxn modelId="{04032298-F189-4153-AA9B-6B38AF54D193}" type="presParOf" srcId="{3BAB21B9-A2CD-4EB0-9D33-B130CA9E6C58}" destId="{239458EC-89AA-49E0-87BC-516F690BC9CB}" srcOrd="0" destOrd="0" presId="urn:microsoft.com/office/officeart/2008/layout/VerticalCircleList"/>
    <dgm:cxn modelId="{9C6C8E13-2A3C-4610-9F6E-CB80450CA10F}" type="presParOf" srcId="{3BAB21B9-A2CD-4EB0-9D33-B130CA9E6C58}" destId="{614FA9D4-5AE5-40BF-B07F-DF677B3631F3}" srcOrd="1" destOrd="0" presId="urn:microsoft.com/office/officeart/2008/layout/VerticalCircleList"/>
    <dgm:cxn modelId="{CD993714-633D-46A2-B85F-9D4721E724FC}" type="presParOf" srcId="{3BAB21B9-A2CD-4EB0-9D33-B130CA9E6C58}" destId="{00F0F183-8075-499D-94C6-0BE0D036C8D5}" srcOrd="2" destOrd="0" presId="urn:microsoft.com/office/officeart/2008/layout/VerticalCircleList"/>
    <dgm:cxn modelId="{A2F2D1E0-BA09-42B0-85F2-83B9E59A69D3}" type="presParOf" srcId="{C9C8C8CD-9429-40AC-8E18-5A5264398E4D}" destId="{764FFC10-38F0-4A1B-AAEE-3166FE4626E6}" srcOrd="2" destOrd="0" presId="urn:microsoft.com/office/officeart/2008/layout/VerticalCircleList"/>
    <dgm:cxn modelId="{F31587E3-8D10-4828-AAE6-58322ECE7DA8}" type="presParOf" srcId="{764FFC10-38F0-4A1B-AAEE-3166FE4626E6}" destId="{2A4E9310-55EB-411C-A69E-C6B9F54EC94A}" srcOrd="0" destOrd="0" presId="urn:microsoft.com/office/officeart/2008/layout/VerticalCircleList"/>
    <dgm:cxn modelId="{AA089DC5-4FC6-426E-B72D-00382CC86127}" type="presParOf" srcId="{764FFC10-38F0-4A1B-AAEE-3166FE4626E6}" destId="{B7A050D9-2C3B-4695-AD6F-5E77FE90ADE5}" srcOrd="1" destOrd="0" presId="urn:microsoft.com/office/officeart/2008/layout/VerticalCircleList"/>
    <dgm:cxn modelId="{5F257F4B-373F-4821-A0A1-EA8F5BC43268}" type="presParOf" srcId="{764FFC10-38F0-4A1B-AAEE-3166FE4626E6}" destId="{6CFC2DF0-B767-4083-A0CE-5F9704FCF919}" srcOrd="2" destOrd="0" presId="urn:microsoft.com/office/officeart/2008/layout/VerticalCircleList"/>
    <dgm:cxn modelId="{B075D22B-A88E-4C23-80D4-13415A44AA8C}" type="presParOf" srcId="{C9C8C8CD-9429-40AC-8E18-5A5264398E4D}" destId="{11C0C903-F886-4348-A4D9-580676CF255F}" srcOrd="3" destOrd="0" presId="urn:microsoft.com/office/officeart/2008/layout/VerticalCircleList"/>
    <dgm:cxn modelId="{B71CF92F-F5FD-4748-8267-363203B9150B}" type="presParOf" srcId="{11C0C903-F886-4348-A4D9-580676CF255F}" destId="{337D586B-2ADB-45B4-B28B-0F5897E4C32D}" srcOrd="0" destOrd="0" presId="urn:microsoft.com/office/officeart/2008/layout/VerticalCircleList"/>
    <dgm:cxn modelId="{4F99F54D-FCAE-4CE6-A12B-A107D3420A62}" type="presParOf" srcId="{11C0C903-F886-4348-A4D9-580676CF255F}" destId="{354F393F-330B-4FCD-A6F8-80C4EC65A416}" srcOrd="1" destOrd="0" presId="urn:microsoft.com/office/officeart/2008/layout/VerticalCircleList"/>
    <dgm:cxn modelId="{ADDAB919-AFFA-4A6D-85B1-715FFCA0CDB4}" type="presParOf" srcId="{11C0C903-F886-4348-A4D9-580676CF255F}" destId="{2CF02A25-0E67-4B31-AC44-EE1D1394B833}" srcOrd="2" destOrd="0" presId="urn:microsoft.com/office/officeart/2008/layout/VerticalCircleList"/>
    <dgm:cxn modelId="{116AC477-A80C-419C-964B-FB4239B5DAD2}" type="presParOf" srcId="{C9C8C8CD-9429-40AC-8E18-5A5264398E4D}" destId="{A8B8CB7B-D832-40F8-93EE-20A7A230AB3A}" srcOrd="4" destOrd="0" presId="urn:microsoft.com/office/officeart/2008/layout/VerticalCircleList"/>
    <dgm:cxn modelId="{DC1B8960-5ABD-4625-B85F-A2D2752B012C}" type="presParOf" srcId="{A8B8CB7B-D832-40F8-93EE-20A7A230AB3A}" destId="{71B88059-B204-43F0-90A7-59500A5705E9}" srcOrd="0" destOrd="0" presId="urn:microsoft.com/office/officeart/2008/layout/VerticalCircleList"/>
    <dgm:cxn modelId="{C7C0158B-74CD-4E1C-B204-FACDEE09CC09}" type="presParOf" srcId="{A8B8CB7B-D832-40F8-93EE-20A7A230AB3A}" destId="{1A87C913-B07B-4722-BF9E-63FABD986A4F}" srcOrd="1" destOrd="0" presId="urn:microsoft.com/office/officeart/2008/layout/VerticalCircleList"/>
    <dgm:cxn modelId="{816A35E5-898E-49DC-B536-412C1DB4C26F}" type="presParOf" srcId="{A8B8CB7B-D832-40F8-93EE-20A7A230AB3A}" destId="{52F67E15-2C7F-436E-9E21-23C1142C520F}" srcOrd="2" destOrd="0" presId="urn:microsoft.com/office/officeart/2008/layout/VerticalCircleList"/>
    <dgm:cxn modelId="{D7E65C2D-F410-48FD-8F0A-7305B966D849}" type="presParOf" srcId="{C9C8C8CD-9429-40AC-8E18-5A5264398E4D}" destId="{BE9B4722-1327-4604-9B95-8F00C5E4B149}" srcOrd="5" destOrd="0" presId="urn:microsoft.com/office/officeart/2008/layout/VerticalCircleList"/>
    <dgm:cxn modelId="{C690DF9F-4B9A-498D-A8E9-64DC056BBB5F}" type="presParOf" srcId="{BE9B4722-1327-4604-9B95-8F00C5E4B149}" destId="{D60B1CF1-D732-4983-A458-80860B8236DA}" srcOrd="0" destOrd="0" presId="urn:microsoft.com/office/officeart/2008/layout/VerticalCircleList"/>
    <dgm:cxn modelId="{676B9EF3-AE73-4814-8BEA-2F17E190E40C}" type="presParOf" srcId="{BE9B4722-1327-4604-9B95-8F00C5E4B149}" destId="{34F2B14B-35CA-4B8C-9688-A2CC504C899E}" srcOrd="1" destOrd="0" presId="urn:microsoft.com/office/officeart/2008/layout/VerticalCircleList"/>
    <dgm:cxn modelId="{9E575050-D8CD-482B-8F76-16BF94FA9C2F}" type="presParOf" srcId="{BE9B4722-1327-4604-9B95-8F00C5E4B149}" destId="{FF38BFBB-E311-45FA-B19B-196801317B02}" srcOrd="2" destOrd="0" presId="urn:microsoft.com/office/officeart/2008/layout/VerticalCircleList"/>
    <dgm:cxn modelId="{274BB094-B843-40C5-B81E-D498666B01A3}" type="presParOf" srcId="{C9C8C8CD-9429-40AC-8E18-5A5264398E4D}" destId="{920CCAE8-22F9-46A1-9A7A-7F13D2A25574}" srcOrd="6" destOrd="0" presId="urn:microsoft.com/office/officeart/2008/layout/VerticalCircleList"/>
    <dgm:cxn modelId="{52FDAB17-7D75-4A71-9489-74F8A220B82E}" type="presParOf" srcId="{920CCAE8-22F9-46A1-9A7A-7F13D2A25574}" destId="{7F04F304-6D49-456F-8FA8-5D02AA93B28B}" srcOrd="0" destOrd="0" presId="urn:microsoft.com/office/officeart/2008/layout/VerticalCircleList"/>
    <dgm:cxn modelId="{5E0F4DDC-C43E-4CC9-A6B7-FEFD4D8DFFEF}" type="presParOf" srcId="{920CCAE8-22F9-46A1-9A7A-7F13D2A25574}" destId="{EACBB2C2-47A0-476C-B204-EC059EADD16A}" srcOrd="1" destOrd="0" presId="urn:microsoft.com/office/officeart/2008/layout/VerticalCircleList"/>
    <dgm:cxn modelId="{F77DBC48-F6D3-4E75-8924-28839164C167}" type="presParOf" srcId="{920CCAE8-22F9-46A1-9A7A-7F13D2A25574}" destId="{45C57F85-BEAC-41F3-A028-2E0EBD9D04AD}" srcOrd="2" destOrd="0" presId="urn:microsoft.com/office/officeart/2008/layout/VerticalCircleList"/>
    <dgm:cxn modelId="{5D2984D9-686A-447A-BD12-C1269BAC275B}" type="presParOf" srcId="{C9C8C8CD-9429-40AC-8E18-5A5264398E4D}" destId="{6E52F455-1E58-4C3D-9EFC-726312C292F5}" srcOrd="7" destOrd="0" presId="urn:microsoft.com/office/officeart/2008/layout/VerticalCircleList"/>
    <dgm:cxn modelId="{7E31260D-7AD3-4DE8-92EC-C87687C6B5EE}" type="presParOf" srcId="{6E52F455-1E58-4C3D-9EFC-726312C292F5}" destId="{44E8307C-98A0-42E2-B00E-CB1999192E4B}" srcOrd="0" destOrd="0" presId="urn:microsoft.com/office/officeart/2008/layout/VerticalCircleList"/>
    <dgm:cxn modelId="{601BC4A3-497D-4A58-A0F6-6FEFC9045AEF}" type="presParOf" srcId="{6E52F455-1E58-4C3D-9EFC-726312C292F5}" destId="{8BEAD3C5-FB99-49BE-A86A-FE63543DB78F}" srcOrd="1" destOrd="0" presId="urn:microsoft.com/office/officeart/2008/layout/VerticalCircleList"/>
    <dgm:cxn modelId="{FFEEADE4-D7A0-4856-815B-95884BBE95C4}" type="presParOf" srcId="{6E52F455-1E58-4C3D-9EFC-726312C292F5}" destId="{E9F3C241-171E-4FF5-BFDB-F26F094A9BC4}" srcOrd="2" destOrd="0" presId="urn:microsoft.com/office/officeart/2008/layout/VerticalCircleList"/>
    <dgm:cxn modelId="{587CD697-4D1B-46BB-8943-8EDA896EA0C5}" type="presParOf" srcId="{C9C8C8CD-9429-40AC-8E18-5A5264398E4D}" destId="{2622D0AB-0D99-42F7-8343-0E60E9970874}" srcOrd="8" destOrd="0" presId="urn:microsoft.com/office/officeart/2008/layout/VerticalCircleList"/>
    <dgm:cxn modelId="{919B20FD-E367-4545-A808-626275AEDB6F}" type="presParOf" srcId="{2622D0AB-0D99-42F7-8343-0E60E9970874}" destId="{4DE60658-3154-4E53-AF30-A97A5382E6B6}" srcOrd="0" destOrd="0" presId="urn:microsoft.com/office/officeart/2008/layout/VerticalCircleList"/>
    <dgm:cxn modelId="{720EAF2C-1BF5-4B8E-9F16-7A034C6DB57F}" type="presParOf" srcId="{2622D0AB-0D99-42F7-8343-0E60E9970874}" destId="{38EB5F50-59FC-45D1-BC9C-14AE631FD151}" srcOrd="1" destOrd="0" presId="urn:microsoft.com/office/officeart/2008/layout/VerticalCircleList"/>
    <dgm:cxn modelId="{670CDFD9-968A-4A08-AF31-B838A25E537E}" type="presParOf" srcId="{2622D0AB-0D99-42F7-8343-0E60E9970874}" destId="{E78A47F3-E022-4473-86D2-FE5B0CC69C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D3A088-9104-4F7F-B719-481B8C7C5576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32E938A8-5855-448E-819F-553F75505F5C}">
      <dgm:prSet phldrT="[Text]" custT="1"/>
      <dgm:spPr/>
      <dgm:t>
        <a:bodyPr/>
        <a:lstStyle/>
        <a:p>
          <a:r>
            <a:rPr lang="en-US" sz="1800" dirty="0" smtClean="0"/>
            <a:t>Trade Preferential System (TPS-OIC)</a:t>
          </a:r>
          <a:endParaRPr lang="en-US" sz="1800" dirty="0"/>
        </a:p>
      </dgm:t>
    </dgm:pt>
    <dgm:pt modelId="{9603D3D3-C01B-4939-8C78-5314763D2F66}" type="parTrans" cxnId="{5622D4A0-BD6E-4C97-A36D-6AAD4B09A805}">
      <dgm:prSet/>
      <dgm:spPr/>
      <dgm:t>
        <a:bodyPr/>
        <a:lstStyle/>
        <a:p>
          <a:endParaRPr lang="en-US" sz="1400"/>
        </a:p>
      </dgm:t>
    </dgm:pt>
    <dgm:pt modelId="{2BEA60F5-095E-4FEC-87EA-BBE4BE099D7E}" type="sibTrans" cxnId="{5622D4A0-BD6E-4C97-A36D-6AAD4B09A805}">
      <dgm:prSet/>
      <dgm:spPr/>
      <dgm:t>
        <a:bodyPr/>
        <a:lstStyle/>
        <a:p>
          <a:endParaRPr lang="en-US" sz="1400"/>
        </a:p>
      </dgm:t>
    </dgm:pt>
    <dgm:pt modelId="{B61F85FA-5296-4DEE-96E9-CDC6EE0B66ED}">
      <dgm:prSet phldrT="[Text]" custT="1"/>
      <dgm:spPr/>
      <dgm:t>
        <a:bodyPr/>
        <a:lstStyle/>
        <a:p>
          <a:r>
            <a:rPr lang="en-US" sz="1600" dirty="0" smtClean="0"/>
            <a:t>Framework agreement - 2002</a:t>
          </a:r>
          <a:endParaRPr lang="en-US" sz="1600" dirty="0"/>
        </a:p>
      </dgm:t>
    </dgm:pt>
    <dgm:pt modelId="{BB532E41-A61D-419F-BE41-B798E8306D73}" type="parTrans" cxnId="{7987F0C6-B637-43D4-8FF2-8EC967A996B5}">
      <dgm:prSet custT="1"/>
      <dgm:spPr/>
      <dgm:t>
        <a:bodyPr/>
        <a:lstStyle/>
        <a:p>
          <a:endParaRPr lang="en-US" sz="300"/>
        </a:p>
      </dgm:t>
    </dgm:pt>
    <dgm:pt modelId="{D621C0B5-EB02-434A-8500-8CB0E53B9765}" type="sibTrans" cxnId="{7987F0C6-B637-43D4-8FF2-8EC967A996B5}">
      <dgm:prSet/>
      <dgm:spPr/>
      <dgm:t>
        <a:bodyPr/>
        <a:lstStyle/>
        <a:p>
          <a:endParaRPr lang="en-US" sz="1400"/>
        </a:p>
      </dgm:t>
    </dgm:pt>
    <dgm:pt modelId="{D3306C29-5ACB-4267-BC4A-31E02B1C8E50}">
      <dgm:prSet phldrT="[Text]" custT="1"/>
      <dgm:spPr/>
      <dgm:t>
        <a:bodyPr/>
        <a:lstStyle/>
        <a:p>
          <a:r>
            <a:rPr lang="en-US" sz="1600" dirty="0" smtClean="0"/>
            <a:t>PRETAS (Tariffs) - 2010</a:t>
          </a:r>
          <a:endParaRPr lang="en-US" sz="1600" dirty="0"/>
        </a:p>
      </dgm:t>
    </dgm:pt>
    <dgm:pt modelId="{DE04E906-4EB0-43D8-B8A6-F248BEB567D6}" type="parTrans" cxnId="{B0CAB038-8C11-46A8-9ABC-1AD535BD0083}">
      <dgm:prSet custT="1"/>
      <dgm:spPr/>
      <dgm:t>
        <a:bodyPr/>
        <a:lstStyle/>
        <a:p>
          <a:endParaRPr lang="en-US" sz="300"/>
        </a:p>
      </dgm:t>
    </dgm:pt>
    <dgm:pt modelId="{C91D4507-6BE4-43D6-8D93-C9FFE9C468C2}" type="sibTrans" cxnId="{B0CAB038-8C11-46A8-9ABC-1AD535BD0083}">
      <dgm:prSet/>
      <dgm:spPr/>
      <dgm:t>
        <a:bodyPr/>
        <a:lstStyle/>
        <a:p>
          <a:endParaRPr lang="en-US" sz="1400"/>
        </a:p>
      </dgm:t>
    </dgm:pt>
    <dgm:pt modelId="{38F0AD72-05E1-46F0-8E96-EBC44E239923}">
      <dgm:prSet phldrT="[Text]" custT="1"/>
      <dgm:spPr/>
      <dgm:t>
        <a:bodyPr/>
        <a:lstStyle/>
        <a:p>
          <a:r>
            <a:rPr lang="en-US" sz="1600" dirty="0" smtClean="0"/>
            <a:t>Rules of Origin – 2011</a:t>
          </a:r>
          <a:endParaRPr lang="en-US" sz="1600" dirty="0"/>
        </a:p>
      </dgm:t>
    </dgm:pt>
    <dgm:pt modelId="{F26B50F9-961A-480F-AC0E-5903C54122FE}" type="parTrans" cxnId="{A3A918CD-D8AB-40E9-95A7-FEBB43D711D0}">
      <dgm:prSet custT="1"/>
      <dgm:spPr/>
      <dgm:t>
        <a:bodyPr/>
        <a:lstStyle/>
        <a:p>
          <a:endParaRPr lang="en-US" sz="300"/>
        </a:p>
      </dgm:t>
    </dgm:pt>
    <dgm:pt modelId="{DA3BC6A0-0889-47F6-8534-DD9A91F8F76A}" type="sibTrans" cxnId="{A3A918CD-D8AB-40E9-95A7-FEBB43D711D0}">
      <dgm:prSet/>
      <dgm:spPr/>
      <dgm:t>
        <a:bodyPr/>
        <a:lstStyle/>
        <a:p>
          <a:endParaRPr lang="en-US" sz="1400"/>
        </a:p>
      </dgm:t>
    </dgm:pt>
    <dgm:pt modelId="{3C3E422A-3CEE-437F-886D-A3421353AC2C}" type="pres">
      <dgm:prSet presAssocID="{22D3A088-9104-4F7F-B719-481B8C7C5576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39F61A9-DCBC-4D0E-BC43-E88B54F36569}" type="pres">
      <dgm:prSet presAssocID="{32E938A8-5855-448E-819F-553F75505F5C}" presName="root1" presStyleCnt="0"/>
      <dgm:spPr/>
    </dgm:pt>
    <dgm:pt modelId="{6C51DECE-9F23-4CC6-A73F-81E523AB95CF}" type="pres">
      <dgm:prSet presAssocID="{32E938A8-5855-448E-819F-553F75505F5C}" presName="LevelOneTextNode" presStyleLbl="node0" presStyleIdx="0" presStyleCnt="1" custAng="5400000" custLinFactNeighborX="30555" custLinFactNeighborY="-405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8F86879-0468-4785-B982-A04B312A9E91}" type="pres">
      <dgm:prSet presAssocID="{32E938A8-5855-448E-819F-553F75505F5C}" presName="level2hierChild" presStyleCnt="0"/>
      <dgm:spPr/>
    </dgm:pt>
    <dgm:pt modelId="{4ADB607E-D81F-4F8E-B9C5-4486A4736054}" type="pres">
      <dgm:prSet presAssocID="{BB532E41-A61D-419F-BE41-B798E8306D73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4E7CB247-F381-4D6F-93BE-A8255180DD31}" type="pres">
      <dgm:prSet presAssocID="{BB532E41-A61D-419F-BE41-B798E8306D73}" presName="connTx" presStyleLbl="parChTrans1D2" presStyleIdx="0" presStyleCnt="3"/>
      <dgm:spPr/>
      <dgm:t>
        <a:bodyPr/>
        <a:lstStyle/>
        <a:p>
          <a:endParaRPr lang="en-US"/>
        </a:p>
      </dgm:t>
    </dgm:pt>
    <dgm:pt modelId="{EC477CFE-CEC3-406A-9FB9-4AF98CEC17D8}" type="pres">
      <dgm:prSet presAssocID="{B61F85FA-5296-4DEE-96E9-CDC6EE0B66ED}" presName="root2" presStyleCnt="0"/>
      <dgm:spPr/>
    </dgm:pt>
    <dgm:pt modelId="{F17883A0-8AA6-4542-9E10-5E4C763AEAAB}" type="pres">
      <dgm:prSet presAssocID="{B61F85FA-5296-4DEE-96E9-CDC6EE0B66ED}" presName="LevelTwoTextNode" presStyleLbl="node2" presStyleIdx="0" presStyleCnt="3" custLinFactNeighborX="1137" custLinFactNeighborY="541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ECB79B9-A49E-41E5-9F2A-B760A1C30E8C}" type="pres">
      <dgm:prSet presAssocID="{B61F85FA-5296-4DEE-96E9-CDC6EE0B66ED}" presName="level3hierChild" presStyleCnt="0"/>
      <dgm:spPr/>
    </dgm:pt>
    <dgm:pt modelId="{87606E31-9040-4DCF-9406-516205D1E81A}" type="pres">
      <dgm:prSet presAssocID="{DE04E906-4EB0-43D8-B8A6-F248BEB567D6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A99F7FEA-8458-4EE3-8B68-3A1D382C7F64}" type="pres">
      <dgm:prSet presAssocID="{DE04E906-4EB0-43D8-B8A6-F248BEB567D6}" presName="connTx" presStyleLbl="parChTrans1D2" presStyleIdx="1" presStyleCnt="3"/>
      <dgm:spPr/>
      <dgm:t>
        <a:bodyPr/>
        <a:lstStyle/>
        <a:p>
          <a:endParaRPr lang="en-US"/>
        </a:p>
      </dgm:t>
    </dgm:pt>
    <dgm:pt modelId="{0B73EEA6-2876-40C6-94C2-B0CB1BD99CBF}" type="pres">
      <dgm:prSet presAssocID="{D3306C29-5ACB-4267-BC4A-31E02B1C8E50}" presName="root2" presStyleCnt="0"/>
      <dgm:spPr/>
    </dgm:pt>
    <dgm:pt modelId="{0BF9DA4E-9200-453E-BEB7-9886A79FF534}" type="pres">
      <dgm:prSet presAssocID="{D3306C29-5ACB-4267-BC4A-31E02B1C8E50}" presName="LevelTwoTextNode" presStyleLbl="node2" presStyleIdx="1" presStyleCnt="3" custLinFactNeighborX="1138" custLinFactNeighborY="541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FFAE29-209B-4A20-868D-7CF301E0CD00}" type="pres">
      <dgm:prSet presAssocID="{D3306C29-5ACB-4267-BC4A-31E02B1C8E50}" presName="level3hierChild" presStyleCnt="0"/>
      <dgm:spPr/>
    </dgm:pt>
    <dgm:pt modelId="{0F2C2AA3-94E4-401D-8B1D-2CF76497CA15}" type="pres">
      <dgm:prSet presAssocID="{F26B50F9-961A-480F-AC0E-5903C54122FE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987B4F06-619A-4BB8-903E-31C9222C647B}" type="pres">
      <dgm:prSet presAssocID="{F26B50F9-961A-480F-AC0E-5903C54122FE}" presName="connTx" presStyleLbl="parChTrans1D2" presStyleIdx="2" presStyleCnt="3"/>
      <dgm:spPr/>
      <dgm:t>
        <a:bodyPr/>
        <a:lstStyle/>
        <a:p>
          <a:endParaRPr lang="en-US"/>
        </a:p>
      </dgm:t>
    </dgm:pt>
    <dgm:pt modelId="{85176AF5-310D-49D1-99CB-89F4CAEC250D}" type="pres">
      <dgm:prSet presAssocID="{38F0AD72-05E1-46F0-8E96-EBC44E239923}" presName="root2" presStyleCnt="0"/>
      <dgm:spPr/>
    </dgm:pt>
    <dgm:pt modelId="{05DBC3D9-3F96-454A-8FE3-9897C2BEA769}" type="pres">
      <dgm:prSet presAssocID="{38F0AD72-05E1-46F0-8E96-EBC44E239923}" presName="LevelTwoTextNode" presStyleLbl="node2" presStyleIdx="2" presStyleCnt="3" custLinFactNeighborX="1707" custLinFactNeighborY="4898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9C209E7-0B31-40F1-B70C-99A068FB62F4}" type="pres">
      <dgm:prSet presAssocID="{38F0AD72-05E1-46F0-8E96-EBC44E239923}" presName="level3hierChild" presStyleCnt="0"/>
      <dgm:spPr/>
    </dgm:pt>
  </dgm:ptLst>
  <dgm:cxnLst>
    <dgm:cxn modelId="{5622D4A0-BD6E-4C97-A36D-6AAD4B09A805}" srcId="{22D3A088-9104-4F7F-B719-481B8C7C5576}" destId="{32E938A8-5855-448E-819F-553F75505F5C}" srcOrd="0" destOrd="0" parTransId="{9603D3D3-C01B-4939-8C78-5314763D2F66}" sibTransId="{2BEA60F5-095E-4FEC-87EA-BBE4BE099D7E}"/>
    <dgm:cxn modelId="{4E5FED33-7E59-4299-8C95-3D36CD150F61}" type="presOf" srcId="{38F0AD72-05E1-46F0-8E96-EBC44E239923}" destId="{05DBC3D9-3F96-454A-8FE3-9897C2BEA769}" srcOrd="0" destOrd="0" presId="urn:microsoft.com/office/officeart/2008/layout/HorizontalMultiLevelHierarchy"/>
    <dgm:cxn modelId="{E07E7D01-CD74-44CF-9AB8-5E8E3B8FF998}" type="presOf" srcId="{B61F85FA-5296-4DEE-96E9-CDC6EE0B66ED}" destId="{F17883A0-8AA6-4542-9E10-5E4C763AEAAB}" srcOrd="0" destOrd="0" presId="urn:microsoft.com/office/officeart/2008/layout/HorizontalMultiLevelHierarchy"/>
    <dgm:cxn modelId="{C37B05F4-0EDC-41C6-8575-A24C7503D448}" type="presOf" srcId="{BB532E41-A61D-419F-BE41-B798E8306D73}" destId="{4ADB607E-D81F-4F8E-B9C5-4486A4736054}" srcOrd="0" destOrd="0" presId="urn:microsoft.com/office/officeart/2008/layout/HorizontalMultiLevelHierarchy"/>
    <dgm:cxn modelId="{1E364902-E960-4476-A9CB-AAEF19A0F7C6}" type="presOf" srcId="{DE04E906-4EB0-43D8-B8A6-F248BEB567D6}" destId="{A99F7FEA-8458-4EE3-8B68-3A1D382C7F64}" srcOrd="1" destOrd="0" presId="urn:microsoft.com/office/officeart/2008/layout/HorizontalMultiLevelHierarchy"/>
    <dgm:cxn modelId="{100BCB75-B482-4FC5-A02C-5A2F307ACB1E}" type="presOf" srcId="{22D3A088-9104-4F7F-B719-481B8C7C5576}" destId="{3C3E422A-3CEE-437F-886D-A3421353AC2C}" srcOrd="0" destOrd="0" presId="urn:microsoft.com/office/officeart/2008/layout/HorizontalMultiLevelHierarchy"/>
    <dgm:cxn modelId="{A76E93FD-832B-4A15-8C45-09C536AFC1BF}" type="presOf" srcId="{BB532E41-A61D-419F-BE41-B798E8306D73}" destId="{4E7CB247-F381-4D6F-93BE-A8255180DD31}" srcOrd="1" destOrd="0" presId="urn:microsoft.com/office/officeart/2008/layout/HorizontalMultiLevelHierarchy"/>
    <dgm:cxn modelId="{BEC5F6F4-0891-4F2F-B306-E343176B57B5}" type="presOf" srcId="{F26B50F9-961A-480F-AC0E-5903C54122FE}" destId="{987B4F06-619A-4BB8-903E-31C9222C647B}" srcOrd="1" destOrd="0" presId="urn:microsoft.com/office/officeart/2008/layout/HorizontalMultiLevelHierarchy"/>
    <dgm:cxn modelId="{B0CAB038-8C11-46A8-9ABC-1AD535BD0083}" srcId="{32E938A8-5855-448E-819F-553F75505F5C}" destId="{D3306C29-5ACB-4267-BC4A-31E02B1C8E50}" srcOrd="1" destOrd="0" parTransId="{DE04E906-4EB0-43D8-B8A6-F248BEB567D6}" sibTransId="{C91D4507-6BE4-43D6-8D93-C9FFE9C468C2}"/>
    <dgm:cxn modelId="{A3A918CD-D8AB-40E9-95A7-FEBB43D711D0}" srcId="{32E938A8-5855-448E-819F-553F75505F5C}" destId="{38F0AD72-05E1-46F0-8E96-EBC44E239923}" srcOrd="2" destOrd="0" parTransId="{F26B50F9-961A-480F-AC0E-5903C54122FE}" sibTransId="{DA3BC6A0-0889-47F6-8534-DD9A91F8F76A}"/>
    <dgm:cxn modelId="{3BEF0CC7-611B-4AD0-82B9-39A18B7BBB9A}" type="presOf" srcId="{32E938A8-5855-448E-819F-553F75505F5C}" destId="{6C51DECE-9F23-4CC6-A73F-81E523AB95CF}" srcOrd="0" destOrd="0" presId="urn:microsoft.com/office/officeart/2008/layout/HorizontalMultiLevelHierarchy"/>
    <dgm:cxn modelId="{A0079126-B351-42DA-8B5B-743EF8AB93E5}" type="presOf" srcId="{D3306C29-5ACB-4267-BC4A-31E02B1C8E50}" destId="{0BF9DA4E-9200-453E-BEB7-9886A79FF534}" srcOrd="0" destOrd="0" presId="urn:microsoft.com/office/officeart/2008/layout/HorizontalMultiLevelHierarchy"/>
    <dgm:cxn modelId="{7987F0C6-B637-43D4-8FF2-8EC967A996B5}" srcId="{32E938A8-5855-448E-819F-553F75505F5C}" destId="{B61F85FA-5296-4DEE-96E9-CDC6EE0B66ED}" srcOrd="0" destOrd="0" parTransId="{BB532E41-A61D-419F-BE41-B798E8306D73}" sibTransId="{D621C0B5-EB02-434A-8500-8CB0E53B9765}"/>
    <dgm:cxn modelId="{388DF561-3930-4826-B583-F68D00D9145E}" type="presOf" srcId="{F26B50F9-961A-480F-AC0E-5903C54122FE}" destId="{0F2C2AA3-94E4-401D-8B1D-2CF76497CA15}" srcOrd="0" destOrd="0" presId="urn:microsoft.com/office/officeart/2008/layout/HorizontalMultiLevelHierarchy"/>
    <dgm:cxn modelId="{E2DEAD80-C57C-4B68-9832-9E726CBAD1AE}" type="presOf" srcId="{DE04E906-4EB0-43D8-B8A6-F248BEB567D6}" destId="{87606E31-9040-4DCF-9406-516205D1E81A}" srcOrd="0" destOrd="0" presId="urn:microsoft.com/office/officeart/2008/layout/HorizontalMultiLevelHierarchy"/>
    <dgm:cxn modelId="{63B90792-3463-41CE-A803-ADD79D6DD9B1}" type="presParOf" srcId="{3C3E422A-3CEE-437F-886D-A3421353AC2C}" destId="{B39F61A9-DCBC-4D0E-BC43-E88B54F36569}" srcOrd="0" destOrd="0" presId="urn:microsoft.com/office/officeart/2008/layout/HorizontalMultiLevelHierarchy"/>
    <dgm:cxn modelId="{67EBEFA3-7CF6-403B-B5A4-777D0E30D241}" type="presParOf" srcId="{B39F61A9-DCBC-4D0E-BC43-E88B54F36569}" destId="{6C51DECE-9F23-4CC6-A73F-81E523AB95CF}" srcOrd="0" destOrd="0" presId="urn:microsoft.com/office/officeart/2008/layout/HorizontalMultiLevelHierarchy"/>
    <dgm:cxn modelId="{3AD9AE00-1AF2-4DC2-8654-E908AA1A7C1F}" type="presParOf" srcId="{B39F61A9-DCBC-4D0E-BC43-E88B54F36569}" destId="{98F86879-0468-4785-B982-A04B312A9E91}" srcOrd="1" destOrd="0" presId="urn:microsoft.com/office/officeart/2008/layout/HorizontalMultiLevelHierarchy"/>
    <dgm:cxn modelId="{A3E018A1-93D5-430A-A64B-17A1E0913230}" type="presParOf" srcId="{98F86879-0468-4785-B982-A04B312A9E91}" destId="{4ADB607E-D81F-4F8E-B9C5-4486A4736054}" srcOrd="0" destOrd="0" presId="urn:microsoft.com/office/officeart/2008/layout/HorizontalMultiLevelHierarchy"/>
    <dgm:cxn modelId="{6DBD40D2-789C-43F9-B489-934CD3A51F55}" type="presParOf" srcId="{4ADB607E-D81F-4F8E-B9C5-4486A4736054}" destId="{4E7CB247-F381-4D6F-93BE-A8255180DD31}" srcOrd="0" destOrd="0" presId="urn:microsoft.com/office/officeart/2008/layout/HorizontalMultiLevelHierarchy"/>
    <dgm:cxn modelId="{5C913A2A-FC87-47DD-BEA2-D36103A865AC}" type="presParOf" srcId="{98F86879-0468-4785-B982-A04B312A9E91}" destId="{EC477CFE-CEC3-406A-9FB9-4AF98CEC17D8}" srcOrd="1" destOrd="0" presId="urn:microsoft.com/office/officeart/2008/layout/HorizontalMultiLevelHierarchy"/>
    <dgm:cxn modelId="{7222F33E-7126-4193-878D-C79A785DEA8C}" type="presParOf" srcId="{EC477CFE-CEC3-406A-9FB9-4AF98CEC17D8}" destId="{F17883A0-8AA6-4542-9E10-5E4C763AEAAB}" srcOrd="0" destOrd="0" presId="urn:microsoft.com/office/officeart/2008/layout/HorizontalMultiLevelHierarchy"/>
    <dgm:cxn modelId="{F2C2A24A-2AA6-417F-86BE-96F601F27971}" type="presParOf" srcId="{EC477CFE-CEC3-406A-9FB9-4AF98CEC17D8}" destId="{FECB79B9-A49E-41E5-9F2A-B760A1C30E8C}" srcOrd="1" destOrd="0" presId="urn:microsoft.com/office/officeart/2008/layout/HorizontalMultiLevelHierarchy"/>
    <dgm:cxn modelId="{99DAF6C7-EA77-4AFF-A93A-F42B57F1E98C}" type="presParOf" srcId="{98F86879-0468-4785-B982-A04B312A9E91}" destId="{87606E31-9040-4DCF-9406-516205D1E81A}" srcOrd="2" destOrd="0" presId="urn:microsoft.com/office/officeart/2008/layout/HorizontalMultiLevelHierarchy"/>
    <dgm:cxn modelId="{178BA633-2AD5-4830-A262-F59260C30B56}" type="presParOf" srcId="{87606E31-9040-4DCF-9406-516205D1E81A}" destId="{A99F7FEA-8458-4EE3-8B68-3A1D382C7F64}" srcOrd="0" destOrd="0" presId="urn:microsoft.com/office/officeart/2008/layout/HorizontalMultiLevelHierarchy"/>
    <dgm:cxn modelId="{58EBC148-23CF-4F84-9F0F-8B28A19F66B7}" type="presParOf" srcId="{98F86879-0468-4785-B982-A04B312A9E91}" destId="{0B73EEA6-2876-40C6-94C2-B0CB1BD99CBF}" srcOrd="3" destOrd="0" presId="urn:microsoft.com/office/officeart/2008/layout/HorizontalMultiLevelHierarchy"/>
    <dgm:cxn modelId="{CEC01088-211C-4B34-8E8E-6BF0566A6D8E}" type="presParOf" srcId="{0B73EEA6-2876-40C6-94C2-B0CB1BD99CBF}" destId="{0BF9DA4E-9200-453E-BEB7-9886A79FF534}" srcOrd="0" destOrd="0" presId="urn:microsoft.com/office/officeart/2008/layout/HorizontalMultiLevelHierarchy"/>
    <dgm:cxn modelId="{A27D179A-FB61-43DC-8F06-300399FED34D}" type="presParOf" srcId="{0B73EEA6-2876-40C6-94C2-B0CB1BD99CBF}" destId="{20FFAE29-209B-4A20-868D-7CF301E0CD00}" srcOrd="1" destOrd="0" presId="urn:microsoft.com/office/officeart/2008/layout/HorizontalMultiLevelHierarchy"/>
    <dgm:cxn modelId="{C6E47124-1D14-452D-9BF3-9C1DDC8433A5}" type="presParOf" srcId="{98F86879-0468-4785-B982-A04B312A9E91}" destId="{0F2C2AA3-94E4-401D-8B1D-2CF76497CA15}" srcOrd="4" destOrd="0" presId="urn:microsoft.com/office/officeart/2008/layout/HorizontalMultiLevelHierarchy"/>
    <dgm:cxn modelId="{C0E8C729-3751-4ACC-9899-D3EB3132F5F2}" type="presParOf" srcId="{0F2C2AA3-94E4-401D-8B1D-2CF76497CA15}" destId="{987B4F06-619A-4BB8-903E-31C9222C647B}" srcOrd="0" destOrd="0" presId="urn:microsoft.com/office/officeart/2008/layout/HorizontalMultiLevelHierarchy"/>
    <dgm:cxn modelId="{F32003C4-D168-4CBF-BDC2-2F97CF2EFDE9}" type="presParOf" srcId="{98F86879-0468-4785-B982-A04B312A9E91}" destId="{85176AF5-310D-49D1-99CB-89F4CAEC250D}" srcOrd="5" destOrd="0" presId="urn:microsoft.com/office/officeart/2008/layout/HorizontalMultiLevelHierarchy"/>
    <dgm:cxn modelId="{6975569D-7174-477C-89F6-497BD44481F3}" type="presParOf" srcId="{85176AF5-310D-49D1-99CB-89F4CAEC250D}" destId="{05DBC3D9-3F96-454A-8FE3-9897C2BEA769}" srcOrd="0" destOrd="0" presId="urn:microsoft.com/office/officeart/2008/layout/HorizontalMultiLevelHierarchy"/>
    <dgm:cxn modelId="{24B12952-F80D-4525-AAD7-C17DAE8C0395}" type="presParOf" srcId="{85176AF5-310D-49D1-99CB-89F4CAEC250D}" destId="{89C209E7-0B31-40F1-B70C-99A068FB62F4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34D02CC-22E1-4B9C-8C0C-7AD56320F358}">
      <dsp:nvSpPr>
        <dsp:cNvPr id="0" name=""/>
        <dsp:cNvSpPr/>
      </dsp:nvSpPr>
      <dsp:spPr>
        <a:xfrm>
          <a:off x="476404" y="1930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442EBE9-DEBB-4045-A5A9-FEAD73498A2B}">
      <dsp:nvSpPr>
        <dsp:cNvPr id="0" name=""/>
        <dsp:cNvSpPr/>
      </dsp:nvSpPr>
      <dsp:spPr>
        <a:xfrm>
          <a:off x="680825" y="1930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Reform IDB</a:t>
          </a:r>
          <a:endParaRPr lang="fr-FR" sz="900" b="1" kern="1200"/>
        </a:p>
      </dsp:txBody>
      <dsp:txXfrm>
        <a:off x="680825" y="1930"/>
        <a:ext cx="2181323" cy="408842"/>
      </dsp:txXfrm>
    </dsp:sp>
    <dsp:sp modelId="{614FA9D4-5AE5-40BF-B07F-DF677B3631F3}">
      <dsp:nvSpPr>
        <dsp:cNvPr id="0" name=""/>
        <dsp:cNvSpPr/>
      </dsp:nvSpPr>
      <dsp:spPr>
        <a:xfrm>
          <a:off x="476404" y="410773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0F0F183-8075-499D-94C6-0BE0D036C8D5}">
      <dsp:nvSpPr>
        <dsp:cNvPr id="0" name=""/>
        <dsp:cNvSpPr/>
      </dsp:nvSpPr>
      <dsp:spPr>
        <a:xfrm>
          <a:off x="680825" y="410773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Alleviate Poverty</a:t>
          </a:r>
          <a:endParaRPr lang="fr-FR" sz="900" b="1" kern="1200"/>
        </a:p>
      </dsp:txBody>
      <dsp:txXfrm>
        <a:off x="680825" y="410773"/>
        <a:ext cx="2181323" cy="408842"/>
      </dsp:txXfrm>
    </dsp:sp>
    <dsp:sp modelId="{B7A050D9-2C3B-4695-AD6F-5E77FE90ADE5}">
      <dsp:nvSpPr>
        <dsp:cNvPr id="0" name=""/>
        <dsp:cNvSpPr/>
      </dsp:nvSpPr>
      <dsp:spPr>
        <a:xfrm>
          <a:off x="476404" y="819615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CFC2DF0-B767-4083-A0CE-5F9704FCF919}">
      <dsp:nvSpPr>
        <dsp:cNvPr id="0" name=""/>
        <dsp:cNvSpPr/>
      </dsp:nvSpPr>
      <dsp:spPr>
        <a:xfrm>
          <a:off x="680825" y="819615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Promote Health</a:t>
          </a:r>
          <a:endParaRPr lang="fr-FR" sz="900" b="1" kern="1200"/>
        </a:p>
      </dsp:txBody>
      <dsp:txXfrm>
        <a:off x="680825" y="819615"/>
        <a:ext cx="2181323" cy="408842"/>
      </dsp:txXfrm>
    </dsp:sp>
    <dsp:sp modelId="{354F393F-330B-4FCD-A6F8-80C4EC65A416}">
      <dsp:nvSpPr>
        <dsp:cNvPr id="0" name=""/>
        <dsp:cNvSpPr/>
      </dsp:nvSpPr>
      <dsp:spPr>
        <a:xfrm>
          <a:off x="476404" y="1228457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CF02A25-0E67-4B31-AC44-EE1D1394B833}">
      <dsp:nvSpPr>
        <dsp:cNvPr id="0" name=""/>
        <dsp:cNvSpPr/>
      </dsp:nvSpPr>
      <dsp:spPr>
        <a:xfrm>
          <a:off x="680825" y="1228457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Universalize Education</a:t>
          </a:r>
          <a:endParaRPr lang="fr-FR" sz="900" b="1" kern="1200"/>
        </a:p>
      </dsp:txBody>
      <dsp:txXfrm>
        <a:off x="680825" y="1228457"/>
        <a:ext cx="2181323" cy="408842"/>
      </dsp:txXfrm>
    </dsp:sp>
    <dsp:sp modelId="{1A87C913-B07B-4722-BF9E-63FABD986A4F}">
      <dsp:nvSpPr>
        <dsp:cNvPr id="0" name=""/>
        <dsp:cNvSpPr/>
      </dsp:nvSpPr>
      <dsp:spPr>
        <a:xfrm>
          <a:off x="476404" y="1637299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2F67E15-2C7F-436E-9E21-23C1142C520F}">
      <dsp:nvSpPr>
        <dsp:cNvPr id="0" name=""/>
        <dsp:cNvSpPr/>
      </dsp:nvSpPr>
      <dsp:spPr>
        <a:xfrm>
          <a:off x="680825" y="1637299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Prosper the people</a:t>
          </a:r>
          <a:endParaRPr lang="fr-FR" sz="900" b="1" kern="1200"/>
        </a:p>
      </dsp:txBody>
      <dsp:txXfrm>
        <a:off x="680825" y="1637299"/>
        <a:ext cx="2181323" cy="408842"/>
      </dsp:txXfrm>
    </dsp:sp>
    <dsp:sp modelId="{34F2B14B-35CA-4B8C-9688-A2CC504C899E}">
      <dsp:nvSpPr>
        <dsp:cNvPr id="0" name=""/>
        <dsp:cNvSpPr/>
      </dsp:nvSpPr>
      <dsp:spPr>
        <a:xfrm>
          <a:off x="476404" y="2046142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F38BFBB-E311-45FA-B19B-196801317B02}">
      <dsp:nvSpPr>
        <dsp:cNvPr id="0" name=""/>
        <dsp:cNvSpPr/>
      </dsp:nvSpPr>
      <dsp:spPr>
        <a:xfrm>
          <a:off x="680825" y="2046142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Empower the Sisters of Islam without breaching the tenets of Islam</a:t>
          </a:r>
          <a:endParaRPr lang="fr-FR" sz="900" b="1" kern="1200" dirty="0"/>
        </a:p>
      </dsp:txBody>
      <dsp:txXfrm>
        <a:off x="680825" y="2046142"/>
        <a:ext cx="2181323" cy="408842"/>
      </dsp:txXfrm>
    </dsp:sp>
    <dsp:sp modelId="{EACBB2C2-47A0-476C-B204-EC059EADD16A}">
      <dsp:nvSpPr>
        <dsp:cNvPr id="0" name=""/>
        <dsp:cNvSpPr/>
      </dsp:nvSpPr>
      <dsp:spPr>
        <a:xfrm>
          <a:off x="476404" y="2454984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5C57F85-BEAC-41F3-A028-2E0EBD9D04AD}">
      <dsp:nvSpPr>
        <dsp:cNvPr id="0" name=""/>
        <dsp:cNvSpPr/>
      </dsp:nvSpPr>
      <dsp:spPr>
        <a:xfrm>
          <a:off x="680825" y="2454984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Expand the Islamic Financial Industry</a:t>
          </a:r>
          <a:endParaRPr lang="fr-FR" sz="900" b="1" kern="1200" dirty="0"/>
        </a:p>
      </dsp:txBody>
      <dsp:txXfrm>
        <a:off x="680825" y="2454984"/>
        <a:ext cx="2181323" cy="408842"/>
      </dsp:txXfrm>
    </dsp:sp>
    <dsp:sp modelId="{8BEAD3C5-FB99-49BE-A86A-FE63543DB78F}">
      <dsp:nvSpPr>
        <dsp:cNvPr id="0" name=""/>
        <dsp:cNvSpPr/>
      </dsp:nvSpPr>
      <dsp:spPr>
        <a:xfrm>
          <a:off x="476404" y="2863826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9F3C241-171E-4FF5-BFDB-F26F094A9BC4}">
      <dsp:nvSpPr>
        <dsp:cNvPr id="0" name=""/>
        <dsp:cNvSpPr/>
      </dsp:nvSpPr>
      <dsp:spPr>
        <a:xfrm>
          <a:off x="680825" y="2863826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Facilitate Integration of IDB Member Country Economies Among Themselves and with the World</a:t>
          </a:r>
          <a:endParaRPr lang="fr-FR" sz="900" b="1" kern="1200" dirty="0"/>
        </a:p>
      </dsp:txBody>
      <dsp:txXfrm>
        <a:off x="680825" y="2863826"/>
        <a:ext cx="2181323" cy="408842"/>
      </dsp:txXfrm>
    </dsp:sp>
    <dsp:sp modelId="{38EB5F50-59FC-45D1-BC9C-14AE631FD151}">
      <dsp:nvSpPr>
        <dsp:cNvPr id="0" name=""/>
        <dsp:cNvSpPr/>
      </dsp:nvSpPr>
      <dsp:spPr>
        <a:xfrm>
          <a:off x="476404" y="3272668"/>
          <a:ext cx="408842" cy="40884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E78A47F3-E022-4473-86D2-FE5B0CC69CE0}">
      <dsp:nvSpPr>
        <dsp:cNvPr id="0" name=""/>
        <dsp:cNvSpPr/>
      </dsp:nvSpPr>
      <dsp:spPr>
        <a:xfrm>
          <a:off x="680825" y="3272668"/>
          <a:ext cx="2181323" cy="408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smtClean="0"/>
            <a:t>Improve the Image of the Muslim World</a:t>
          </a:r>
          <a:endParaRPr lang="fr-FR" sz="900" b="1" kern="1200"/>
        </a:p>
      </dsp:txBody>
      <dsp:txXfrm>
        <a:off x="680825" y="3272668"/>
        <a:ext cx="2181323" cy="40884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F2C2AA3-94E4-401D-8B1D-2CF76497CA15}">
      <dsp:nvSpPr>
        <dsp:cNvPr id="0" name=""/>
        <dsp:cNvSpPr/>
      </dsp:nvSpPr>
      <dsp:spPr>
        <a:xfrm>
          <a:off x="1223259" y="308864"/>
          <a:ext cx="251069" cy="23914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5534" y="0"/>
              </a:lnTo>
              <a:lnTo>
                <a:pt x="125534" y="2391471"/>
              </a:lnTo>
              <a:lnTo>
                <a:pt x="251069" y="2391471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00" kern="1200"/>
        </a:p>
      </dsp:txBody>
      <dsp:txXfrm>
        <a:off x="1288678" y="1444484"/>
        <a:ext cx="120230" cy="120230"/>
      </dsp:txXfrm>
    </dsp:sp>
    <dsp:sp modelId="{87606E31-9040-4DCF-9406-516205D1E81A}">
      <dsp:nvSpPr>
        <dsp:cNvPr id="0" name=""/>
        <dsp:cNvSpPr/>
      </dsp:nvSpPr>
      <dsp:spPr>
        <a:xfrm>
          <a:off x="1223259" y="308864"/>
          <a:ext cx="239540" cy="16509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9770" y="0"/>
              </a:lnTo>
              <a:lnTo>
                <a:pt x="119770" y="1650933"/>
              </a:lnTo>
              <a:lnTo>
                <a:pt x="239540" y="1650933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00" kern="1200"/>
        </a:p>
      </dsp:txBody>
      <dsp:txXfrm>
        <a:off x="1301323" y="1092625"/>
        <a:ext cx="83411" cy="83411"/>
      </dsp:txXfrm>
    </dsp:sp>
    <dsp:sp modelId="{4ADB607E-D81F-4F8E-B9C5-4486A4736054}">
      <dsp:nvSpPr>
        <dsp:cNvPr id="0" name=""/>
        <dsp:cNvSpPr/>
      </dsp:nvSpPr>
      <dsp:spPr>
        <a:xfrm>
          <a:off x="1223259" y="308864"/>
          <a:ext cx="239520" cy="8787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9760" y="0"/>
              </a:lnTo>
              <a:lnTo>
                <a:pt x="119760" y="878766"/>
              </a:lnTo>
              <a:lnTo>
                <a:pt x="239520" y="87876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00" kern="1200"/>
        </a:p>
      </dsp:txBody>
      <dsp:txXfrm>
        <a:off x="1320248" y="725476"/>
        <a:ext cx="45541" cy="45541"/>
      </dsp:txXfrm>
    </dsp:sp>
    <dsp:sp modelId="{6C51DECE-9F23-4CC6-A73F-81E523AB95CF}">
      <dsp:nvSpPr>
        <dsp:cNvPr id="0" name=""/>
        <dsp:cNvSpPr/>
      </dsp:nvSpPr>
      <dsp:spPr>
        <a:xfrm>
          <a:off x="-711204" y="0"/>
          <a:ext cx="3251200" cy="61772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rade Preferential System (TPS-OIC)</a:t>
          </a:r>
          <a:endParaRPr lang="en-US" sz="1800" kern="1200" dirty="0"/>
        </a:p>
      </dsp:txBody>
      <dsp:txXfrm>
        <a:off x="-711204" y="0"/>
        <a:ext cx="3251200" cy="617728"/>
      </dsp:txXfrm>
    </dsp:sp>
    <dsp:sp modelId="{F17883A0-8AA6-4542-9E10-5E4C763AEAAB}">
      <dsp:nvSpPr>
        <dsp:cNvPr id="0" name=""/>
        <dsp:cNvSpPr/>
      </dsp:nvSpPr>
      <dsp:spPr>
        <a:xfrm>
          <a:off x="1462779" y="878766"/>
          <a:ext cx="2026147" cy="61772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Framework agreement - 2002</a:t>
          </a:r>
          <a:endParaRPr lang="en-US" sz="1600" kern="1200" dirty="0"/>
        </a:p>
      </dsp:txBody>
      <dsp:txXfrm>
        <a:off x="1462779" y="878766"/>
        <a:ext cx="2026147" cy="617728"/>
      </dsp:txXfrm>
    </dsp:sp>
    <dsp:sp modelId="{0BF9DA4E-9200-453E-BEB7-9886A79FF534}">
      <dsp:nvSpPr>
        <dsp:cNvPr id="0" name=""/>
        <dsp:cNvSpPr/>
      </dsp:nvSpPr>
      <dsp:spPr>
        <a:xfrm>
          <a:off x="1462799" y="1650933"/>
          <a:ext cx="2026147" cy="61772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RETAS (Tariffs) - 2010</a:t>
          </a:r>
          <a:endParaRPr lang="en-US" sz="1600" kern="1200" dirty="0"/>
        </a:p>
      </dsp:txBody>
      <dsp:txXfrm>
        <a:off x="1462799" y="1650933"/>
        <a:ext cx="2026147" cy="617728"/>
      </dsp:txXfrm>
    </dsp:sp>
    <dsp:sp modelId="{05DBC3D9-3F96-454A-8FE3-9897C2BEA769}">
      <dsp:nvSpPr>
        <dsp:cNvPr id="0" name=""/>
        <dsp:cNvSpPr/>
      </dsp:nvSpPr>
      <dsp:spPr>
        <a:xfrm>
          <a:off x="1474328" y="2391471"/>
          <a:ext cx="2026147" cy="61772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ules of Origin – 2011</a:t>
          </a:r>
          <a:endParaRPr lang="en-US" sz="1600" kern="1200" dirty="0"/>
        </a:p>
      </dsp:txBody>
      <dsp:txXfrm>
        <a:off x="1474328" y="2391471"/>
        <a:ext cx="2026147" cy="6177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86983" y="9718138"/>
            <a:ext cx="365060" cy="16781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 eaLnBrk="0" hangingPunct="0">
              <a:defRPr sz="800">
                <a:latin typeface="Arial" pitchFamily="34" charset="0"/>
              </a:defRPr>
            </a:lvl1pPr>
          </a:lstStyle>
          <a:p>
            <a:pPr>
              <a:defRPr/>
            </a:pPr>
            <a:fld id="{3C580CCD-BB39-4428-9669-085EF58E05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70677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3224" y="4717527"/>
            <a:ext cx="5560876" cy="48972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601" y="9738480"/>
            <a:ext cx="223442" cy="147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 eaLnBrk="0" hangingPunct="0">
              <a:defRPr sz="800">
                <a:latin typeface="Arial" pitchFamily="34" charset="0"/>
              </a:defRPr>
            </a:lvl1pPr>
          </a:lstStyle>
          <a:p>
            <a:pPr>
              <a:defRPr/>
            </a:pPr>
            <a:fld id="{6FA2A89E-CCAE-4154-8813-75B4006C9E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91534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1430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002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5793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DDF75E4D-37CF-4415-8196-ECD8311344CE}" type="slidenum">
              <a:rPr lang="en-US" smtClean="0">
                <a:latin typeface="Arial" charset="0"/>
              </a:rPr>
              <a:pPr/>
              <a:t>1</a:t>
            </a:fld>
            <a:endParaRPr lang="en-US" smtClean="0">
              <a:latin typeface="Arial" charset="0"/>
            </a:endParaRPr>
          </a:p>
        </p:txBody>
      </p:sp>
      <p:sp>
        <p:nvSpPr>
          <p:cNvPr id="1825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0675" y="228600"/>
            <a:ext cx="6110288" cy="4230688"/>
          </a:xfrm>
          <a:prstGeom prst="rect">
            <a:avLst/>
          </a:prstGeom>
          <a:ln/>
        </p:spPr>
      </p:sp>
      <p:sp>
        <p:nvSpPr>
          <p:cNvPr id="182579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5793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DDF75E4D-37CF-4415-8196-ECD8311344CE}" type="slidenum">
              <a:rPr lang="en-US" smtClean="0">
                <a:latin typeface="Arial" charset="0"/>
              </a:rPr>
              <a:pPr/>
              <a:t>18</a:t>
            </a:fld>
            <a:endParaRPr lang="en-US" smtClean="0">
              <a:latin typeface="Arial" charset="0"/>
            </a:endParaRPr>
          </a:p>
        </p:txBody>
      </p:sp>
      <p:sp>
        <p:nvSpPr>
          <p:cNvPr id="1825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0675" y="228600"/>
            <a:ext cx="6110288" cy="4230688"/>
          </a:xfrm>
          <a:prstGeom prst="rect">
            <a:avLst/>
          </a:prstGeom>
          <a:ln/>
        </p:spPr>
      </p:sp>
      <p:sp>
        <p:nvSpPr>
          <p:cNvPr id="182579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76225" y="1604356"/>
            <a:ext cx="9331325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/>
          <a:p>
            <a:pPr eaLnBrk="0" hangingPunct="0"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5" name="Rectangle 6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/>
          <a:p>
            <a:pPr eaLnBrk="0" hangingPunct="0"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916550" name="Rectangle 70"/>
          <p:cNvSpPr>
            <a:spLocks noGrp="1" noChangeArrowheads="1"/>
          </p:cNvSpPr>
          <p:nvPr>
            <p:ph type="ctrTitle"/>
          </p:nvPr>
        </p:nvSpPr>
        <p:spPr>
          <a:xfrm>
            <a:off x="284163" y="2224088"/>
            <a:ext cx="3959225" cy="36068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916551" name="Rectangle 7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13338" y="2224088"/>
            <a:ext cx="3959225" cy="3606800"/>
          </a:xfrm>
        </p:spPr>
        <p:txBody>
          <a:bodyPr/>
          <a:lstStyle>
            <a:lvl1pPr marL="0" indent="0">
              <a:lnSpc>
                <a:spcPct val="140000"/>
              </a:lnSpc>
              <a:spcBef>
                <a:spcPct val="0"/>
              </a:spcBef>
              <a:buFont typeface="Wingdings" pitchFamily="2" charset="2"/>
              <a:buNone/>
              <a:defRPr sz="2200">
                <a:latin typeface="Book Antiqua" pitchFamily="18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  <a:p>
            <a:pPr lvl="0"/>
            <a:endParaRPr lang="en-US" noProof="0" smtClean="0"/>
          </a:p>
        </p:txBody>
      </p:sp>
      <p:sp>
        <p:nvSpPr>
          <p:cNvPr id="7" name="Rectangle 64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40FECA-7AB8-4591-8B90-7AA93A3D7E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96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6C428D-C7AC-4625-B1EA-C7961CBEC4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36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277813" y="593725"/>
            <a:ext cx="9331325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140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287338" y="1568450"/>
            <a:ext cx="9009062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Lorem ipsum dolor sit amet magna erat consecteduer adipiscing erat magna elit</a:t>
            </a:r>
          </a:p>
          <a:p>
            <a:pPr lvl="1"/>
            <a:r>
              <a:rPr lang="en-US" smtClean="0"/>
              <a:t>Lorem ipsum dolor sit amet Second level</a:t>
            </a:r>
          </a:p>
        </p:txBody>
      </p:sp>
      <p:sp>
        <p:nvSpPr>
          <p:cNvPr id="513202" name="Rectangle 17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/>
          <a:p>
            <a:pPr eaLnBrk="0" hangingPunct="0"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513203" name="Rectangle 17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/>
          <a:p>
            <a:pPr eaLnBrk="0" hangingPunct="0">
              <a:defRPr/>
            </a:pPr>
            <a:endParaRPr lang="en-US">
              <a:latin typeface="Arial" pitchFamily="34" charset="0"/>
            </a:endParaRPr>
          </a:p>
        </p:txBody>
      </p:sp>
      <p:sp>
        <p:nvSpPr>
          <p:cNvPr id="513220" name="Rectangle 196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9069388" y="6572250"/>
            <a:ext cx="538162" cy="1825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5F24DEBE-DDD8-4696-AA86-C138E3350D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1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2pPr>
      <a:lvl3pPr marL="2278063" indent="111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1600">
          <a:solidFill>
            <a:schemeClr val="tx1"/>
          </a:solidFill>
          <a:latin typeface="+mj-lt"/>
        </a:defRPr>
      </a:lvl3pPr>
      <a:lvl4pPr marL="2403475" indent="-10318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indent="-688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2974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6pPr>
      <a:lvl7pPr marL="34321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7pPr>
      <a:lvl8pPr marL="38893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8pPr>
      <a:lvl9pPr marL="43465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chart" Target="../charts/chart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//upload.wikimedia.org/wikipedia/commons/1/15/Muslim_majority_countries2.png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gif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6.jpeg"/><Relationship Id="rId18" Type="http://schemas.openxmlformats.org/officeDocument/2006/relationships/image" Target="../media/image51.jpeg"/><Relationship Id="rId26" Type="http://schemas.openxmlformats.org/officeDocument/2006/relationships/image" Target="../media/image59.jpeg"/><Relationship Id="rId3" Type="http://schemas.openxmlformats.org/officeDocument/2006/relationships/image" Target="../media/image37.png"/><Relationship Id="rId21" Type="http://schemas.openxmlformats.org/officeDocument/2006/relationships/image" Target="../media/image54.jpeg"/><Relationship Id="rId7" Type="http://schemas.openxmlformats.org/officeDocument/2006/relationships/image" Target="../media/image41.png"/><Relationship Id="rId12" Type="http://schemas.openxmlformats.org/officeDocument/2006/relationships/image" Target="../media/image45.emf"/><Relationship Id="rId17" Type="http://schemas.openxmlformats.org/officeDocument/2006/relationships/image" Target="../media/image50.png"/><Relationship Id="rId25" Type="http://schemas.openxmlformats.org/officeDocument/2006/relationships/image" Target="../media/image58.jpeg"/><Relationship Id="rId2" Type="http://schemas.openxmlformats.org/officeDocument/2006/relationships/image" Target="../media/image36.png"/><Relationship Id="rId16" Type="http://schemas.openxmlformats.org/officeDocument/2006/relationships/image" Target="../media/image49.png"/><Relationship Id="rId20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4.jpeg"/><Relationship Id="rId24" Type="http://schemas.openxmlformats.org/officeDocument/2006/relationships/image" Target="../media/image57.jpeg"/><Relationship Id="rId5" Type="http://schemas.openxmlformats.org/officeDocument/2006/relationships/image" Target="../media/image39.jpeg"/><Relationship Id="rId15" Type="http://schemas.openxmlformats.org/officeDocument/2006/relationships/image" Target="../media/image48.jpeg"/><Relationship Id="rId23" Type="http://schemas.openxmlformats.org/officeDocument/2006/relationships/image" Target="../media/image56.jpeg"/><Relationship Id="rId10" Type="http://schemas.openxmlformats.org/officeDocument/2006/relationships/image" Target="../media/image43.jpeg"/><Relationship Id="rId19" Type="http://schemas.openxmlformats.org/officeDocument/2006/relationships/image" Target="../media/image52.jpeg"/><Relationship Id="rId4" Type="http://schemas.openxmlformats.org/officeDocument/2006/relationships/image" Target="../media/image38.png"/><Relationship Id="rId9" Type="http://schemas.openxmlformats.org/officeDocument/2006/relationships/image" Target="../media/image42.jpeg"/><Relationship Id="rId14" Type="http://schemas.openxmlformats.org/officeDocument/2006/relationships/image" Target="../media/image47.jpeg"/><Relationship Id="rId22" Type="http://schemas.openxmlformats.org/officeDocument/2006/relationships/image" Target="../media/image5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//upload.wikimedia.org/wikipedia/commons/1/15/Muslim_majority_countries2.png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7714" name="Picture 2" descr="http://allafrica.com/download/pic/main/main/csiid/00190006:c462f3092574af7978df09f557e62921:arc614x376:w614:us1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42" y="4165438"/>
            <a:ext cx="3375140" cy="206686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7" name="TextBox 13"/>
          <p:cNvSpPr txBox="1">
            <a:spLocks noChangeArrowheads="1"/>
          </p:cNvSpPr>
          <p:nvPr/>
        </p:nvSpPr>
        <p:spPr bwMode="auto">
          <a:xfrm>
            <a:off x="273728" y="1912412"/>
            <a:ext cx="9251951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en-US" sz="2000" b="1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24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IDB Initiatives for Developing Trade and Transport across Europe, Asia and the Arab </a:t>
            </a:r>
            <a:r>
              <a:rPr lang="en-US" sz="2400" b="1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region</a:t>
            </a:r>
          </a:p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/>
            <a:r>
              <a:rPr lang="en-US" sz="1800" b="1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Dr. </a:t>
            </a:r>
            <a:r>
              <a:rPr lang="en-US" sz="1800" b="1" dirty="0" err="1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Walid</a:t>
            </a:r>
            <a:r>
              <a:rPr lang="en-US" sz="1800" b="1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800" b="1" dirty="0" err="1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Abdelwahab</a:t>
            </a:r>
            <a:r>
              <a:rPr lang="en-US" sz="1800" b="1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, Director</a:t>
            </a:r>
          </a:p>
          <a:p>
            <a:pPr algn="ctr"/>
            <a:r>
              <a:rPr lang="en-US" sz="1800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Infrastructure Department</a:t>
            </a:r>
            <a:endParaRPr lang="en-US" sz="2800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90771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6154056" y="396883"/>
            <a:ext cx="3735389" cy="1209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7717" name="Picture 5" descr="http://clrtafrique.com/images/bienvenu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4972" y="4143747"/>
            <a:ext cx="3256545" cy="211024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7719" name="Picture 7" descr="http://www.silkroadcaravan.org/inc/html/default/pix/home_en/map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5961" y="4143747"/>
            <a:ext cx="3177432" cy="211265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8" y="400837"/>
            <a:ext cx="5319506" cy="1202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363324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="" xmlns:p14="http://schemas.microsoft.com/office/powerpoint/2010/main" val="1559523774"/>
              </p:ext>
            </p:extLst>
          </p:nvPr>
        </p:nvGraphicFramePr>
        <p:xfrm>
          <a:off x="838200" y="2921000"/>
          <a:ext cx="3882674" cy="325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="" xmlns:p14="http://schemas.microsoft.com/office/powerpoint/2010/main" val="317802771"/>
              </p:ext>
            </p:extLst>
          </p:nvPr>
        </p:nvGraphicFramePr>
        <p:xfrm>
          <a:off x="4720874" y="2921000"/>
          <a:ext cx="5400600" cy="278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Rectangle 4"/>
          <p:cNvSpPr/>
          <p:nvPr/>
        </p:nvSpPr>
        <p:spPr>
          <a:xfrm>
            <a:off x="286214" y="350765"/>
            <a:ext cx="752000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en-US" sz="2400" b="1" kern="0" dirty="0">
                <a:latin typeface="+mj-lt"/>
                <a:ea typeface="+mj-ea"/>
                <a:cs typeface="+mj-cs"/>
              </a:rPr>
              <a:t>Developing Trade and Transport across </a:t>
            </a:r>
            <a:r>
              <a:rPr lang="en-US" sz="2400" b="1" kern="0" dirty="0" smtClean="0">
                <a:latin typeface="+mj-lt"/>
                <a:ea typeface="+mj-ea"/>
                <a:cs typeface="+mj-cs"/>
              </a:rPr>
              <a:t>IDB regions</a:t>
            </a:r>
            <a:br>
              <a:rPr lang="en-US" sz="2400" b="1" kern="0" dirty="0" smtClean="0">
                <a:latin typeface="+mj-lt"/>
                <a:ea typeface="+mj-ea"/>
                <a:cs typeface="+mj-cs"/>
              </a:rPr>
            </a:br>
            <a:r>
              <a:rPr lang="en-US" sz="2400" b="1" kern="0" dirty="0" smtClean="0">
                <a:latin typeface="+mj-lt"/>
                <a:ea typeface="+mj-ea"/>
                <a:cs typeface="+mj-cs"/>
              </a:rPr>
              <a:t>	3</a:t>
            </a:r>
            <a:r>
              <a:rPr lang="en-US" sz="2400" b="1" i="1" kern="0" dirty="0" smtClean="0">
                <a:latin typeface="+mj-lt"/>
                <a:ea typeface="+mj-ea"/>
                <a:cs typeface="+mj-cs"/>
              </a:rPr>
              <a:t>) Trade integration</a:t>
            </a:r>
            <a:endParaRPr lang="en-US" sz="2400" b="1" i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44601" y="1726039"/>
            <a:ext cx="7647214" cy="523220"/>
          </a:xfrm>
          <a:prstGeom prst="rect">
            <a:avLst/>
          </a:prstGeom>
          <a:solidFill>
            <a:srgbClr val="0064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b="1" dirty="0" smtClean="0"/>
              <a:t>But the entry into force of the TPS-OIC System and the initiatives under way to develop intra-OIC trade demonstrate promising results: intra-OIC set to reach 20% by 2015</a:t>
            </a:r>
          </a:p>
        </p:txBody>
      </p:sp>
    </p:spTree>
    <p:extLst>
      <p:ext uri="{BB962C8B-B14F-4D97-AF65-F5344CB8AC3E}">
        <p14:creationId xmlns="" xmlns:p14="http://schemas.microsoft.com/office/powerpoint/2010/main" val="3271347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kern="0" dirty="0" smtClean="0"/>
              <a:t>	</a:t>
            </a:r>
            <a:r>
              <a:rPr lang="en-US" i="1" kern="0" dirty="0" smtClean="0"/>
              <a:t>1) Financing of critical transport infrastructure</a:t>
            </a:r>
            <a:r>
              <a:rPr lang="en-US" kern="0" dirty="0" smtClean="0"/>
              <a:t> </a:t>
            </a:r>
            <a:endParaRPr lang="en-US" kern="0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466894133"/>
              </p:ext>
            </p:extLst>
          </p:nvPr>
        </p:nvGraphicFramePr>
        <p:xfrm>
          <a:off x="2291443" y="1445952"/>
          <a:ext cx="4167414" cy="2400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699168443"/>
              </p:ext>
            </p:extLst>
          </p:nvPr>
        </p:nvGraphicFramePr>
        <p:xfrm>
          <a:off x="6099628" y="1417603"/>
          <a:ext cx="3233058" cy="2428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AutoShape 15"/>
          <p:cNvSpPr>
            <a:spLocks noChangeArrowheads="1"/>
          </p:cNvSpPr>
          <p:nvPr/>
        </p:nvSpPr>
        <p:spPr bwMode="gray">
          <a:xfrm>
            <a:off x="371944" y="2262378"/>
            <a:ext cx="2071688" cy="279400"/>
          </a:xfrm>
          <a:prstGeom prst="roundRect">
            <a:avLst>
              <a:gd name="adj" fmla="val 0"/>
            </a:avLst>
          </a:prstGeom>
          <a:solidFill>
            <a:srgbClr val="82A0C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058" tIns="41029" rIns="82058" bIns="41029" anchor="ctr"/>
          <a:lstStyle/>
          <a:p>
            <a:pPr algn="ctr" defTabSz="820738" eaLnBrk="0" hangingPunct="0"/>
            <a:r>
              <a:rPr lang="en-GB" sz="1100" b="1">
                <a:ea typeface="MS PGothic" pitchFamily="34" charset="-128"/>
              </a:rPr>
              <a:t>Total Operations : 393</a:t>
            </a:r>
            <a:endParaRPr lang="en-US" sz="1100" b="1">
              <a:ea typeface="MS PGothic" pitchFamily="34" charset="-128"/>
            </a:endParaRPr>
          </a:p>
        </p:txBody>
      </p:sp>
      <p:sp>
        <p:nvSpPr>
          <p:cNvPr id="7" name="AutoShape 16"/>
          <p:cNvSpPr>
            <a:spLocks noChangeArrowheads="1"/>
          </p:cNvSpPr>
          <p:nvPr/>
        </p:nvSpPr>
        <p:spPr bwMode="gray">
          <a:xfrm>
            <a:off x="371944" y="2894203"/>
            <a:ext cx="2071688" cy="279400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82058" tIns="41029" rIns="82058" bIns="41029" anchor="ctr"/>
          <a:lstStyle/>
          <a:p>
            <a:pPr algn="ctr" defTabSz="820738" eaLnBrk="0" hangingPunct="0">
              <a:defRPr/>
            </a:pPr>
            <a:r>
              <a:rPr lang="en-GB" sz="1100" b="1" dirty="0">
                <a:latin typeface="Arial" charset="0"/>
                <a:ea typeface="ＭＳ Ｐゴシック"/>
                <a:cs typeface="ＭＳ Ｐゴシック"/>
              </a:rPr>
              <a:t>Total Operations : 57</a:t>
            </a:r>
            <a:endParaRPr lang="en-US" sz="1100" b="1" dirty="0"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8" name="AutoShape 19"/>
          <p:cNvSpPr>
            <a:spLocks noChangeArrowheads="1"/>
          </p:cNvSpPr>
          <p:nvPr/>
        </p:nvSpPr>
        <p:spPr bwMode="gray">
          <a:xfrm>
            <a:off x="371944" y="3213290"/>
            <a:ext cx="2071688" cy="279400"/>
          </a:xfrm>
          <a:prstGeom prst="roundRect">
            <a:avLst>
              <a:gd name="adj" fmla="val 0"/>
            </a:avLst>
          </a:prstGeom>
          <a:solidFill>
            <a:srgbClr val="F1F9DF"/>
          </a:solidFill>
          <a:ln w="9525" algn="ctr">
            <a:noFill/>
            <a:round/>
            <a:headEnd/>
            <a:tailEnd/>
          </a:ln>
        </p:spPr>
        <p:txBody>
          <a:bodyPr wrap="none" lIns="82058" tIns="41029" rIns="82058" bIns="41029" anchor="ctr"/>
          <a:lstStyle/>
          <a:p>
            <a:pPr algn="ctr" defTabSz="820738" eaLnBrk="0" hangingPunct="0">
              <a:defRPr/>
            </a:pPr>
            <a:r>
              <a:rPr lang="en-GB" sz="1100" b="1" dirty="0">
                <a:latin typeface="Arial" charset="0"/>
                <a:ea typeface="ＭＳ Ｐゴシック"/>
                <a:cs typeface="ＭＳ Ｐゴシック"/>
              </a:rPr>
              <a:t>51% of total in last 5 years</a:t>
            </a:r>
            <a:endParaRPr lang="en-US" sz="1100" b="1" dirty="0"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9" name="AutoShape 25"/>
          <p:cNvSpPr>
            <a:spLocks noChangeArrowheads="1"/>
          </p:cNvSpPr>
          <p:nvPr/>
        </p:nvSpPr>
        <p:spPr bwMode="gray">
          <a:xfrm>
            <a:off x="371944" y="1946465"/>
            <a:ext cx="2071688" cy="279400"/>
          </a:xfrm>
          <a:prstGeom prst="roundRect">
            <a:avLst>
              <a:gd name="adj" fmla="val 0"/>
            </a:avLst>
          </a:prstGeom>
          <a:solidFill>
            <a:srgbClr val="82A0C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2058" tIns="41029" rIns="82058" bIns="41029" anchor="ctr"/>
          <a:lstStyle/>
          <a:p>
            <a:pPr algn="ctr" defTabSz="820738" eaLnBrk="0" hangingPunct="0"/>
            <a:r>
              <a:rPr lang="en-GB" sz="1100" b="1" dirty="0">
                <a:ea typeface="MS PGothic" pitchFamily="34" charset="-128"/>
              </a:rPr>
              <a:t>Total Financing : ID 4.42 </a:t>
            </a:r>
            <a:r>
              <a:rPr lang="en-GB" sz="1100" b="1" dirty="0" err="1">
                <a:ea typeface="MS PGothic" pitchFamily="34" charset="-128"/>
              </a:rPr>
              <a:t>Bn</a:t>
            </a:r>
            <a:endParaRPr lang="en-US" sz="1100" b="1" baseline="30000" dirty="0">
              <a:ea typeface="MS PGothic" pitchFamily="34" charset="-128"/>
            </a:endParaRPr>
          </a:p>
        </p:txBody>
      </p:sp>
      <p:sp>
        <p:nvSpPr>
          <p:cNvPr id="10" name="AutoShape 17"/>
          <p:cNvSpPr>
            <a:spLocks noChangeArrowheads="1"/>
          </p:cNvSpPr>
          <p:nvPr/>
        </p:nvSpPr>
        <p:spPr bwMode="gray">
          <a:xfrm>
            <a:off x="371944" y="2576703"/>
            <a:ext cx="2071688" cy="279400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82058" tIns="41029" rIns="82058" bIns="41029" anchor="ctr"/>
          <a:lstStyle/>
          <a:p>
            <a:pPr algn="ctr" defTabSz="820738" eaLnBrk="0" hangingPunct="0">
              <a:defRPr/>
            </a:pPr>
            <a:r>
              <a:rPr lang="en-GB" sz="1100" b="1" dirty="0">
                <a:latin typeface="Arial" charset="0"/>
                <a:ea typeface="ＭＳ Ｐゴシック"/>
                <a:cs typeface="ＭＳ Ｐゴシック"/>
              </a:rPr>
              <a:t>Total 1429-34H: ID 2.27 </a:t>
            </a:r>
            <a:r>
              <a:rPr lang="en-GB" sz="1100" b="1" dirty="0" err="1">
                <a:latin typeface="Arial" charset="0"/>
                <a:ea typeface="ＭＳ Ｐゴシック"/>
                <a:cs typeface="ＭＳ Ｐゴシック"/>
              </a:rPr>
              <a:t>Bn</a:t>
            </a:r>
            <a:endParaRPr lang="en-US" sz="1100" b="1" baseline="30000" dirty="0"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gray">
          <a:xfrm>
            <a:off x="371944" y="1576578"/>
            <a:ext cx="2071688" cy="30797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576" tIns="36576" rIns="36576" bIns="36576" anchor="ctr"/>
          <a:lstStyle/>
          <a:p>
            <a:pPr algn="ctr" rtl="1"/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Transport Scorecard</a:t>
            </a: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08893473"/>
              </p:ext>
            </p:extLst>
          </p:nvPr>
        </p:nvGraphicFramePr>
        <p:xfrm>
          <a:off x="723900" y="3727450"/>
          <a:ext cx="8128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2512015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405492" y="2546937"/>
            <a:ext cx="7813470" cy="2769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r" fontAlgn="base"/>
            <a:r>
              <a:rPr lang="en-US" dirty="0" smtClean="0"/>
              <a:t>	Source: A study of international transport corridors in OIC member countries, IDB, 2011</a:t>
            </a:r>
            <a:endParaRPr lang="fr-FR" sz="16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8685" y="558485"/>
            <a:ext cx="10247085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i="1" dirty="0" smtClean="0"/>
              <a:t>	Our focus on international corridors</a:t>
            </a:r>
            <a:endParaRPr lang="en-US" i="1" kern="0" dirty="0"/>
          </a:p>
        </p:txBody>
      </p:sp>
      <p:pic>
        <p:nvPicPr>
          <p:cNvPr id="11" name="Picture 4" descr="File:Muslim majority countries2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4800" y="3647362"/>
            <a:ext cx="4883150" cy="222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Line Callout 1 12"/>
          <p:cNvSpPr/>
          <p:nvPr/>
        </p:nvSpPr>
        <p:spPr>
          <a:xfrm>
            <a:off x="2256525" y="5515056"/>
            <a:ext cx="1141412" cy="639762"/>
          </a:xfrm>
          <a:prstGeom prst="borderCallout1">
            <a:avLst>
              <a:gd name="adj1" fmla="val 32860"/>
              <a:gd name="adj2" fmla="val 102361"/>
              <a:gd name="adj3" fmla="val -138243"/>
              <a:gd name="adj4" fmla="val 190462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 smtClean="0"/>
              <a:t>Trans-Saharan Highway</a:t>
            </a:r>
            <a:endParaRPr lang="en-US" sz="1000" b="1" dirty="0"/>
          </a:p>
        </p:txBody>
      </p:sp>
      <p:sp>
        <p:nvSpPr>
          <p:cNvPr id="14" name="Line Callout 1 13"/>
          <p:cNvSpPr/>
          <p:nvPr/>
        </p:nvSpPr>
        <p:spPr>
          <a:xfrm>
            <a:off x="864743" y="3656192"/>
            <a:ext cx="1675493" cy="663575"/>
          </a:xfrm>
          <a:prstGeom prst="borderCallout1">
            <a:avLst>
              <a:gd name="adj1" fmla="val 32860"/>
              <a:gd name="adj2" fmla="val 102361"/>
              <a:gd name="adj3" fmla="val 96534"/>
              <a:gd name="adj4" fmla="val 242525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 smtClean="0"/>
              <a:t>SEETO Corridor</a:t>
            </a:r>
            <a:endParaRPr lang="en-US" sz="1000" dirty="0"/>
          </a:p>
        </p:txBody>
      </p:sp>
      <p:sp>
        <p:nvSpPr>
          <p:cNvPr id="17" name="Line Callout 1 16"/>
          <p:cNvSpPr/>
          <p:nvPr/>
        </p:nvSpPr>
        <p:spPr>
          <a:xfrm>
            <a:off x="7621149" y="3824679"/>
            <a:ext cx="1087437" cy="696913"/>
          </a:xfrm>
          <a:prstGeom prst="borderCallout1">
            <a:avLst>
              <a:gd name="adj1" fmla="val 51829"/>
              <a:gd name="adj2" fmla="val -6142"/>
              <a:gd name="adj3" fmla="val 60757"/>
              <a:gd name="adj4" fmla="val -197899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 smtClean="0"/>
              <a:t>CAREC Corridors</a:t>
            </a:r>
            <a:endParaRPr lang="en-US" sz="1000" dirty="0"/>
          </a:p>
        </p:txBody>
      </p:sp>
      <p:sp>
        <p:nvSpPr>
          <p:cNvPr id="18" name="Line Callout 1 17"/>
          <p:cNvSpPr/>
          <p:nvPr/>
        </p:nvSpPr>
        <p:spPr>
          <a:xfrm>
            <a:off x="7372243" y="5120561"/>
            <a:ext cx="1087437" cy="639762"/>
          </a:xfrm>
          <a:prstGeom prst="borderCallout1">
            <a:avLst>
              <a:gd name="adj1" fmla="val 33190"/>
              <a:gd name="adj2" fmla="val -6880"/>
              <a:gd name="adj3" fmla="val -116888"/>
              <a:gd name="adj4" fmla="val -190655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 smtClean="0"/>
              <a:t>Silk Road</a:t>
            </a:r>
            <a:endParaRPr lang="en-US" sz="1000" dirty="0"/>
          </a:p>
        </p:txBody>
      </p:sp>
      <p:sp>
        <p:nvSpPr>
          <p:cNvPr id="19" name="Line Callout 1 18"/>
          <p:cNvSpPr/>
          <p:nvPr/>
        </p:nvSpPr>
        <p:spPr>
          <a:xfrm>
            <a:off x="5091800" y="5386468"/>
            <a:ext cx="1087437" cy="896937"/>
          </a:xfrm>
          <a:prstGeom prst="borderCallout1">
            <a:avLst>
              <a:gd name="adj1" fmla="val -9762"/>
              <a:gd name="adj2" fmla="val 36594"/>
              <a:gd name="adj3" fmla="val -105942"/>
              <a:gd name="adj4" fmla="val -653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 err="1" smtClean="0"/>
              <a:t>Machreq</a:t>
            </a:r>
            <a:r>
              <a:rPr lang="en-US" sz="1200" b="1" dirty="0" smtClean="0"/>
              <a:t> Corridors</a:t>
            </a:r>
            <a:endParaRPr lang="en-US" sz="1000" dirty="0"/>
          </a:p>
        </p:txBody>
      </p:sp>
      <p:sp>
        <p:nvSpPr>
          <p:cNvPr id="23" name="Rectangle 22"/>
          <p:cNvSpPr/>
          <p:nvPr/>
        </p:nvSpPr>
        <p:spPr>
          <a:xfrm>
            <a:off x="1257966" y="1058164"/>
            <a:ext cx="7813470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base"/>
            <a:r>
              <a:rPr lang="en-US" sz="1400" b="1" dirty="0" smtClean="0"/>
              <a:t>Prioritization criteria for international transport corridors</a:t>
            </a:r>
            <a:endParaRPr lang="fr-FR" sz="1800" dirty="0"/>
          </a:p>
        </p:txBody>
      </p:sp>
      <p:sp>
        <p:nvSpPr>
          <p:cNvPr id="24" name="Rectangle 23"/>
          <p:cNvSpPr/>
          <p:nvPr/>
        </p:nvSpPr>
        <p:spPr>
          <a:xfrm>
            <a:off x="1277257" y="1365554"/>
            <a:ext cx="3876335" cy="116955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14350" lvl="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400" dirty="0" smtClean="0"/>
              <a:t>Involvement of OIC Member States</a:t>
            </a:r>
          </a:p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400" dirty="0" smtClean="0"/>
              <a:t>Intra </a:t>
            </a:r>
            <a:r>
              <a:rPr lang="tr-TR" sz="1400" dirty="0" smtClean="0"/>
              <a:t>Regional Trade Potential</a:t>
            </a:r>
          </a:p>
          <a:p>
            <a:pPr marL="514350" lvl="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400" dirty="0" smtClean="0"/>
              <a:t>Inter</a:t>
            </a:r>
            <a:r>
              <a:rPr lang="fr-FR" sz="1400" dirty="0"/>
              <a:t> </a:t>
            </a:r>
            <a:r>
              <a:rPr lang="fr-FR" sz="1400" dirty="0" smtClean="0"/>
              <a:t>R</a:t>
            </a:r>
            <a:r>
              <a:rPr lang="tr-TR" sz="1400" dirty="0" smtClean="0"/>
              <a:t>egional Trade Potential</a:t>
            </a:r>
          </a:p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400" dirty="0" smtClean="0"/>
              <a:t>Presence of </a:t>
            </a:r>
            <a:r>
              <a:rPr lang="tr-TR" sz="1400" dirty="0" smtClean="0"/>
              <a:t>Missing Links</a:t>
            </a:r>
            <a:r>
              <a:rPr lang="en-GB" sz="1400" dirty="0" smtClean="0"/>
              <a:t> </a:t>
            </a:r>
            <a:endParaRPr lang="tr-TR" sz="1400" dirty="0" smtClean="0"/>
          </a:p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400" dirty="0" smtClean="0"/>
              <a:t>Importance of </a:t>
            </a:r>
            <a:r>
              <a:rPr lang="tr-TR" sz="1400" dirty="0" smtClean="0"/>
              <a:t>Non-Physical Barrier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152925" y="1375783"/>
            <a:ext cx="3918511" cy="116955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400" dirty="0" smtClean="0"/>
              <a:t>Distance from Ports</a:t>
            </a:r>
          </a:p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400" dirty="0" smtClean="0"/>
              <a:t>Connections with Capital Cities</a:t>
            </a:r>
            <a:endParaRPr lang="tr-TR" sz="1400" i="1" dirty="0" smtClean="0"/>
          </a:p>
          <a:p>
            <a:pPr marL="514350" lvl="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400" dirty="0" smtClean="0"/>
              <a:t>Connection Between Locations of Economic Importance</a:t>
            </a:r>
          </a:p>
          <a:p>
            <a:pPr marL="514350" indent="-514350"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400" dirty="0" smtClean="0"/>
              <a:t>Transport costs along the corridor</a:t>
            </a:r>
            <a:endParaRPr lang="tr-TR" sz="1400" dirty="0" smtClean="0"/>
          </a:p>
        </p:txBody>
      </p:sp>
      <p:sp>
        <p:nvSpPr>
          <p:cNvPr id="27" name="Rectangle 26"/>
          <p:cNvSpPr/>
          <p:nvPr/>
        </p:nvSpPr>
        <p:spPr>
          <a:xfrm>
            <a:off x="2863282" y="3252936"/>
            <a:ext cx="4457036" cy="30777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base"/>
            <a:r>
              <a:rPr lang="en-US" sz="1400" b="1" dirty="0" smtClean="0"/>
              <a:t>Some Ongoing Projects across IDB constituency</a:t>
            </a:r>
            <a:endParaRPr lang="fr-FR" sz="1800" dirty="0"/>
          </a:p>
        </p:txBody>
      </p:sp>
    </p:spTree>
    <p:extLst>
      <p:ext uri="{BB962C8B-B14F-4D97-AF65-F5344CB8AC3E}">
        <p14:creationId xmlns="" xmlns:p14="http://schemas.microsoft.com/office/powerpoint/2010/main" val="1283472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7" grpId="0" animBg="1"/>
      <p:bldP spid="18" grpId="0" animBg="1"/>
      <p:bldP spid="19" grpId="0" animBg="1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 smtClean="0"/>
              <a:t>IDBG Initiatives </a:t>
            </a:r>
            <a:r>
              <a:rPr lang="en-US" kern="0" dirty="0"/>
              <a:t>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 smtClean="0"/>
              <a:t>2) Strategic initiatives with global and regional institutions</a:t>
            </a:r>
            <a:endParaRPr lang="en-US" kern="0" dirty="0"/>
          </a:p>
        </p:txBody>
      </p:sp>
      <p:pic>
        <p:nvPicPr>
          <p:cNvPr id="1856514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7800097" y="3375240"/>
            <a:ext cx="2029703" cy="274161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6453142" y="1562100"/>
            <a:ext cx="2693909" cy="381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OIC Institutions</a:t>
            </a:r>
          </a:p>
        </p:txBody>
      </p:sp>
      <p:pic>
        <p:nvPicPr>
          <p:cNvPr id="1856515" name="Picture 3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5613400" y="2193078"/>
            <a:ext cx="4292600" cy="1032721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56517" name="Picture 5" descr="http://www.icdt-oic.org/RS_67/Img/page-de-garde-2012-en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4688" y="3323647"/>
            <a:ext cx="1905000" cy="2857500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 bwMode="auto">
          <a:xfrm>
            <a:off x="1208042" y="1562100"/>
            <a:ext cx="3490958" cy="381000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Global  and regional Institutions</a:t>
            </a:r>
          </a:p>
        </p:txBody>
      </p:sp>
      <p:pic>
        <p:nvPicPr>
          <p:cNvPr id="1856522" name="Picture 10" descr="http://www.carecprogram.org/uploads/news/paktur-1110a.gif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885" y="2279680"/>
            <a:ext cx="2281113" cy="151418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6523" name="Picture 11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115711" y="4343400"/>
            <a:ext cx="2405287" cy="1837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56518" name="Picture 6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2704723" y="2025018"/>
            <a:ext cx="2324477" cy="3088689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2" descr="https://encrypted-tbn3.gstatic.com/images?q=tbn:ANd9GcRa_C2n7-NpL17D1xfonNoNqBr1xb7qwK1brzwt0gVTnOLYZnV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3521" y="5165391"/>
            <a:ext cx="1898602" cy="13269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87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56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856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56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856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856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6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856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/>
              <a:t>3</a:t>
            </a:r>
            <a:r>
              <a:rPr lang="en-US" i="1" kern="0" dirty="0" smtClean="0"/>
              <a:t>) Cooperation and capacity development</a:t>
            </a:r>
            <a:endParaRPr lang="en-US" kern="0" dirty="0"/>
          </a:p>
        </p:txBody>
      </p:sp>
      <p:pic>
        <p:nvPicPr>
          <p:cNvPr id="1858563" name="Picture 3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177799" y="1752599"/>
            <a:ext cx="5117433" cy="3022601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58562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4552507" y="3008313"/>
            <a:ext cx="5175693" cy="330200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30942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8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585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585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8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585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585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 smtClean="0"/>
              <a:t>4) The way forward</a:t>
            </a:r>
            <a:endParaRPr lang="en-US" kern="0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457200" y="1562100"/>
            <a:ext cx="2693909" cy="381000"/>
          </a:xfrm>
          <a:prstGeom prst="rect">
            <a:avLst/>
          </a:prstGeom>
          <a:gradFill>
            <a:gsLst>
              <a:gs pos="80000">
                <a:srgbClr val="92D050"/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Strategic alignment</a:t>
            </a:r>
          </a:p>
        </p:txBody>
      </p:sp>
      <p:pic>
        <p:nvPicPr>
          <p:cNvPr id="1859586" name="Picture 2" descr="http://paulmaddalena.com/wp-content/uploads/2012/08/scale-up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60719" y="2552700"/>
            <a:ext cx="4646831" cy="33191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>
          <a:xfrm>
            <a:off x="2251075" y="2138363"/>
            <a:ext cx="1495425" cy="4305300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679700" y="3143251"/>
            <a:ext cx="2362200" cy="615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Effective delivery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679700" y="3983491"/>
            <a:ext cx="2362200" cy="615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Knowledge generation and Innovation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682875" y="4830763"/>
            <a:ext cx="2362200" cy="615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Connectivity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708275" y="2290763"/>
            <a:ext cx="2362200" cy="615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Scale-up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679700" y="5678643"/>
            <a:ext cx="2362200" cy="6150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1"/>
                </a:solidFill>
              </a:rPr>
              <a:t>Sustainability</a:t>
            </a:r>
          </a:p>
        </p:txBody>
      </p:sp>
    </p:spTree>
    <p:extLst>
      <p:ext uri="{BB962C8B-B14F-4D97-AF65-F5344CB8AC3E}">
        <p14:creationId xmlns="" xmlns:p14="http://schemas.microsoft.com/office/powerpoint/2010/main" val="2810276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 smtClean="0"/>
              <a:t>4) The way forward</a:t>
            </a:r>
            <a:endParaRPr lang="en-US" kern="0" dirty="0"/>
          </a:p>
        </p:txBody>
      </p:sp>
      <p:sp>
        <p:nvSpPr>
          <p:cNvPr id="6" name="Rectangle 5"/>
          <p:cNvSpPr/>
          <p:nvPr/>
        </p:nvSpPr>
        <p:spPr>
          <a:xfrm>
            <a:off x="5662530" y="1600201"/>
            <a:ext cx="3183835" cy="457140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2033" y="2136913"/>
            <a:ext cx="3048000" cy="373380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597" y="2133600"/>
            <a:ext cx="1185332" cy="761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597" y="3124200"/>
            <a:ext cx="1075332" cy="770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1928" y="4114800"/>
            <a:ext cx="1160670" cy="746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365" y="5059039"/>
            <a:ext cx="849796" cy="884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2081129" y="2133600"/>
            <a:ext cx="4876800" cy="7619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Employment Generatio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81129" y="3133194"/>
            <a:ext cx="4876800" cy="7619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ustainability &amp; Inclusiveness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081129" y="4114800"/>
            <a:ext cx="4876800" cy="7619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r>
              <a:rPr lang="en-US" sz="1400" b="1" dirty="0" smtClean="0">
                <a:solidFill>
                  <a:schemeClr val="tx1"/>
                </a:solidFill>
              </a:rPr>
              <a:t>Enhancing “Software” for Economic Growth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81129" y="5105401"/>
            <a:ext cx="4876800" cy="7619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Value-Adding Productivity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5400000">
            <a:off x="6436732" y="3815835"/>
            <a:ext cx="41729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/>
              <a:t>Connectivity: Physical &amp; Knowledg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7200" y="2563671"/>
            <a:ext cx="1507144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600" i="1" dirty="0" smtClean="0"/>
              <a:t>Arab countries</a:t>
            </a:r>
            <a:endParaRPr lang="en-US" sz="1600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546711" y="5528846"/>
            <a:ext cx="152035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600" i="1" dirty="0" smtClean="0"/>
              <a:t>SSA Countries</a:t>
            </a:r>
            <a:endParaRPr lang="en-US" sz="1600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168124" y="3945523"/>
            <a:ext cx="1327608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600" i="1" dirty="0" err="1" smtClean="0"/>
              <a:t>Asia+Surinam</a:t>
            </a:r>
            <a:endParaRPr lang="en-US" sz="16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102289" y="2954923"/>
            <a:ext cx="145142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600" i="1" dirty="0" smtClean="0"/>
              <a:t>CIS &amp; Albania</a:t>
            </a:r>
            <a:endParaRPr lang="en-US" sz="1600" i="1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457200" y="1562100"/>
            <a:ext cx="3073400" cy="381000"/>
          </a:xfrm>
          <a:prstGeom prst="rect">
            <a:avLst/>
          </a:prstGeom>
          <a:gradFill>
            <a:gsLst>
              <a:gs pos="80000">
                <a:srgbClr val="92D050"/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Regional Partnership Strategies</a:t>
            </a:r>
          </a:p>
        </p:txBody>
      </p:sp>
    </p:spTree>
    <p:extLst>
      <p:ext uri="{BB962C8B-B14F-4D97-AF65-F5344CB8AC3E}">
        <p14:creationId xmlns="" xmlns:p14="http://schemas.microsoft.com/office/powerpoint/2010/main" val="1454131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 smtClean="0"/>
              <a:t>4) The way forward</a:t>
            </a:r>
            <a:endParaRPr lang="en-US" kern="0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457200" y="1562100"/>
            <a:ext cx="3073400" cy="381000"/>
          </a:xfrm>
          <a:prstGeom prst="rect">
            <a:avLst/>
          </a:prstGeom>
          <a:gradFill>
            <a:gsLst>
              <a:gs pos="80000">
                <a:srgbClr val="92D050"/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Landmark initiatives</a:t>
            </a:r>
          </a:p>
        </p:txBody>
      </p:sp>
      <p:pic>
        <p:nvPicPr>
          <p:cNvPr id="22" name="Picture 2" descr="development_bank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879" y="4183413"/>
            <a:ext cx="5029200" cy="22288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encrypted-tbn3.gstatic.com/images?q=tbn:ANd9GcRa_C2n7-NpL17D1xfonNoNqBr1xb7qwK1brzwt0gVTnOLYZnV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8652" y="2260600"/>
            <a:ext cx="2563895" cy="17918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5987715" y="2473093"/>
            <a:ext cx="2574295" cy="3420639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486339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77800" y="432267"/>
            <a:ext cx="97282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/>
              <a:t>IDBG Initiatives for developing trade and transport across regions</a:t>
            </a:r>
          </a:p>
          <a:p>
            <a:r>
              <a:rPr lang="en-US" kern="0" dirty="0"/>
              <a:t>	</a:t>
            </a:r>
            <a:r>
              <a:rPr lang="en-US" i="1" kern="0" dirty="0" smtClean="0"/>
              <a:t>4) The way forward</a:t>
            </a:r>
            <a:endParaRPr lang="en-US" kern="0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457200" y="1562100"/>
            <a:ext cx="3073400" cy="381000"/>
          </a:xfrm>
          <a:prstGeom prst="rect">
            <a:avLst/>
          </a:prstGeom>
          <a:gradFill>
            <a:gsLst>
              <a:gs pos="80000">
                <a:srgbClr val="92D050"/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rPr>
              <a:t>Partnerships</a:t>
            </a:r>
          </a:p>
        </p:txBody>
      </p:sp>
      <p:pic>
        <p:nvPicPr>
          <p:cNvPr id="13" name="Picture 20" descr="http://www.topnews.in/files/EBRD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4862" y="3104731"/>
            <a:ext cx="637567" cy="750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http://www.development.lk/media/images/news/Jic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8213" y="3121084"/>
            <a:ext cx="651055" cy="65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4" descr="http://www.eiod.org/uploads/images/unctad.gif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2262" y="4854703"/>
            <a:ext cx="616724" cy="655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6" descr="http://easycarseat.com/wp-content/uploads/2010/03/unece_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4149" y="3180338"/>
            <a:ext cx="691515" cy="676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0" descr="http://www.hivpolicy.org/gifs/UNESCAP.gi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9084" y="3210445"/>
            <a:ext cx="551741" cy="56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2" descr="http://2.bp.blogspot.com/_MfiVfxR9WQ4/SmmmhPaKVNI/AAAAAAAAAFw/MMUvDaxj3vc/s320/ECO_logo2.gi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rightnessContrast bright="-76000" contrast="74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5901" y="3159427"/>
            <a:ext cx="621628" cy="714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46" descr="http://3.bp.blogspot.com/_c6Uukhy4cnU/TCPYNILtWYI/AAAAAAAAWGQ/2Whysjtg7M8/s200/iru_logo%5B1%5D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7363" y="5042021"/>
            <a:ext cx="701324" cy="301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1634" name="Picture 2" descr="https://encrypted-tbn0.gstatic.com/images?q=tbn:ANd9GcToSZeNczv7qK2dj-UeXrj3OdBSt4YGcP-pBlSDygr_hnE3S1XJRQ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2846" y="4862007"/>
            <a:ext cx="729918" cy="6413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 descr="data:image/jpeg;base64,/9j/4AAQSkZJRgABAQAAAQABAAD/2wCEAAkGBxQPBhUUEBQWFhQXFhIZFBUUFRsVGBAVGBUYGRQWFRMYISshGCAlGxQVIjEhJSktLjAwFx8/OzQsNygtMCsBCgoKDg0OGxAQGywkICQyOCw3LDQtLDQsLC8sLC0sLDEvLC0sLCwsLCwsLCw0LDQsLCwsLC8sLCwsLCwsMCwsLP/AABEIAMkA+wMBEQACEQEDEQH/xAAcAAEAAgIDAQAAAAAAAAAAAAAABgcFCAEDBAL/xABMEAABAwIBBQgMCwcFAQEAAAABAAIDBBEFBgcSITE2QVFUYXOy0hMUFyIjMkJxgZGSkxYmNVJygqGjsbPCM0NTYoPB0TREY6LDFSX/xAAbAQEAAwEBAQEAAAAAAAAAAAAAAwQGBQIBB//EADsRAAIBAQMHCQgCAwADAQAAAAABAgMEBRESITEyQVFxExQ0gZGhscHRBhUzUlNhkvAi4RZCsnKC8UP/2gAMAwEAAhEDEQA/ALxQBAEAQBAEAQBAEAQBAEAQBAEAQFb5c5xzTV3YKLQc9pIlkcNJrXfMaARcjfO9s23tWq12nhE0N23Kq0OUr4pPQtvH0JHm/wAoJMRwHsszWh4kew6FwHWDSDY3t43DvKSlNyjizn3pY4WWvkQbwwxzklUpzggCAIAgCAIAgCAIAgCAIAgCAIAgCAIAgCAIAgCAIAgCAIAgK9zl5bdrRGmpXeGcPCPB/YNI2A7zyPUNe2yr1quH8Ynfue6+WarVV/FaFv8A68SmlUNeXXmZ3Ju5+ToRq5Z9UxvtB0pf+K8WTxTnDCAIAgCAIAgCAIAgCAIAgCAIAgCAIAgCAIAgCAIAgCAIAgI9l5jD6LJiSWL9p3rWm19AvIGlbftfVy2UdWbjHFF+7LNG0WmMJ6NPHDYa9yPLpC5xJcSS4k3LidZJJ2klUDfJJLBaD5Q+l15mh8U3c/J0GK5Z9Uxt/wDSl/4rxZPFOcMIAgCAIAgCAIAgCAIAgCAIAgCAIAgCAIAgCAIAgCAIAgCA89fRR1FI6OZgex1tJrhcGxuPtAPoXxpNYM906s6clODwa2mCOQWH8WZ7T+so+RhuL3va2fUfd6D4A4fxZvtP6ycjDcPe1s+o+70M3huHRU1KI4GNYwXIa0b52nlUkYqKwRSq1p1ZZdR4s9S+kYQBAEAQBAEAQBAEAQBAEAQBAEAQHxNM2OIue4NaNZc4gADlJ2I3gfYxcngliyNV+cHD4XkGcPI3omukHttGj9qhdeC2nSpXRbKixyMOOC7tJiTnZotO3Y6i3DoMsf8Avf7F55xHcy1/j9qwxxj2v0PTT50KBzu+dIzldET0Lr7ziBFK4rWtCT6/XAleHYlFUwacEjJG8LHA2PAbbDyFSxkpLFHMq0alKWTUi0/uY7KPKmnw4sFQ4gv0tENaXEhtrnVs2heZ1Iw0k9ksFa1Y8mtH3MJ3UaDhl92V45zD7l33Fa9y7TkZ0aC/jS+6Kc4h9+w+e4rXuXaS3D61lRQsliN2PaHNNiLg8h2KaLUlijl1aUqU3CelHoX0jCA8uJYhHTUbpZ3hkbbXcd65sNQ1nWV8lJRWLJKVGdWahBYtkeOcbDb/AOp+5l6ii5eG/uZ0Pc1t+Tvj6jujYbxj7mbqJy8N/cx7mtvyd8fUz+FYnFV0Ylp3h7CSA4XGsbQQdY9KkjJSWKKFahUozyKiwZ7F6IggOqqqGxUznyODWNBc5x2NA2kr42ksWeoQlOSjFYtkddnAw4f7lvoZIfwao+WhvOgrotj/APz716nX3RsN4z91L1E5aG89e5bb8nfH1HdGw3jP3M3UXzl4b+5j3Lbfk74+o7o2G8Y+5m6icvDf3Me5bb8nfH1HdGw3jH3M3UTl4b+5j3Lbfk74+o7o2G8Y+5m6icvDf3Me5bb8nfH1HdGw3jH3M3UTl4b+5j3Lbfk74+o7o2G8Z+5m6icvDf3Me5bb8nfH1ORnFw4/7n7qUfoX3lobx7mtvyd8fUyGE5V0dXVdjp52vfYkNs5pIG22kBdeo1IyeCZXr2C0UI5VSDS/dxml7KYQBAQrLbL+OgcYoQJai2seRDwdkI1k/wAo9JGq8FSso5lpOxd10TtP855od74eviU9jWOT1s+lUyOfr1N2MZ9Fg1D8VUlJy0mus9ko2eOFOOHj2mOXwsBAEB7cIxWWjrRLTvLHjg2OHzXN2OHIV9TaeKIa9np14ZFRYr90HtypyllxKsbJMGN0G6LWsBAGu5Osk6z+A9P2c3N4shsVhp2SDjDF4vHOYVeS4EBsNm+PxLpub/uVeo/DRgL06XU4khUpQCAh2do/EqT6cP5gUFo1Dr3H0yPB+BRKpm3CAu/M8fif/Wl/Srln1DF390vqROFOcUIDA5eH4nVXNPUdb4bL129Lp8Ua7KgfoAQBAEAQBAEAQBAWlmawDv31kg1a44b7/wDEf+kfWVizw/2Mz7QWvRZ48X5Lz7C1VbMuEBC85OV3aFCIoSO2JQdE/wAFmsGS3DcWHKCd6xgrVMlYLSdi6Lu5zPLnqLve71/so17y55JJJJJJJuSTtJO+qZtkklgjhAEAQBAEAQBAEBsLm83F03N/qcr1HURgb16ZU4kiUpzwgIZnb3Fv5yHphQWjUOvcfTFwfgUWqZtwgLuzObkTz0v4NVyz6pi7+6V1LzJypzihAYHLwfE6q5p6irfDZeu3pdPijXZUT9ACAIAgCAIAgCA9mD4a+rxSOCPxpHAD+UbXOPIGgn0L6k28EQ2ivGhSlUloX73myOGULKbD2QxCzGNDW+jfPKdp866MYqKwR+d1qsqs3Ulpec9S+kZ8vcGsJJsACSeADah9SxeCNbcpcXdXY5LO69nOOgD5MY1Mb6gL8pK5spZTyj9EsdmVnoxprZp47TGL4WQgLIyNzZGaJs1cXMYbFsI1PcN4yO8gfyjXr2hT06GOeRnbwvxU26dDO/m2dW/jo4liU2SFDHEGtpICB8+MSH0ufcn1qwqUFsRn53japPF1JduHgfNXkbQyx2dSwjlYwRn2mWKOjB7D7C8rVB4qo+t4+OJW2WmbZ1LEZqMukiFy+M65IxwtI8do9Y5dZFapRcc60Giu++41mqdbNLfsfo+7gV8oTvhAEBsLm83F030P1OV6jqIwN69MqcSRKU54QEMzubi385D0lBaNQ69x9MXB+BRapm3CAu3M3uSPPydFiuWfVMZf/SupeZOlOcQIDqqadstO5kjQ5jgQ5p1hwO0FfGk1gz1CcoSUovBowJyEw8/7VnrcP7qPkYbi971tn1H3HwcgcP4s32n9ZORhuPvva2fUfd6HHc/w7izfbk6ycjDcffe9s+p3L0Hc+w7iw9uTrJyMNw972z6ncvQ47n2HcWHvJOsnIw3D3vbPn7l6FQZeUNPT5TyRUlxG3RBFy4Mfbv2tJ12Gradt1UqJKTSNbdlWtVs0Z1tL8Nn7uI+vBfCAtvM5k9oUzqyQa33ZDfeYD37vS4W+qeFWbPD/AGZlL/tmVJWeOhZ3x2di8fsWYrRnAgMFl1VdiyPqXXt4JzQeV/eDpKOq8IMu3bDLtVNffHszmuqoH6CEBOc02T7arG3Syi7INEgHY6R19C/CBok+fRU1CGVLF7DiX5bHRoqnHTLw29vqXcrpjAgCAICg85mCto8qXCMWjlaJWgDU0uJD2j6zSbbwcFQqxyZ5jdXPaXXsyytMc3p3EUUZ1AgNhc3m4um5v9RV6jqIwN69MqcSRKU54QEMzubjH85D0lBaNQ7Fx9MXB+BRapm2CAu3M3uSdz8nRYrln1TGX/0rqXmTpTnECAIAgCAIAgMJlljow/AJJtWn4sQPlSO8XVvga3HkaVHUnkRxLlgsjtNdU9ml8NvpxNdZJC6QucSXEkuJ1lxJuST51QP0FJRWC0Hyh9Mlk5g7q7Go4GeWe+d8xg1vd6Be3LbhX2Mcp4Ir2u0xs9GVR7O97DZCkpmxUrY4xZjGta0DeaBYD7F0Uklgj87nOU5OUtLznavp5CAiudE/ESo/o/nxqKvqP92nUubpsOv/AJZQSom6CAuDMkP/AMWc/wDMOg3/ACrVm0MyXtF8aHDzZY6smeCAIAgKfz2/K9PzT+mqdo1kaz2d+FPivArhQGiCA2Fzebi6bm/1FXqOojA3p0upxJEpTnhAQvO5uMfzkPSUFo1DsXH0xcH4FGKmbYIC7Mze5J3PydFiuWfVMZf/AErqXmTtTnECAIAgCAIAgKNzqZQ9t492Jh8FBdotsdJ+8d6LaI8x4VRrTypcDa3JY+RocpLWln6tnqQpRHZCAuXNBk92DCzVSDwkwsy+1sIOr2jr8zWq3Z4YLK3mQv22cpVVGOiOnj/XqWErBwAgCAimdLcJUf0Pz41DX1H+7TqXL02HX/yyg1SN0EBcOZL5En54fltVqzaGZH2i+NDh5ssZWTPhAEAQFQZ7flen5p/TVO06yNZ7O/CnxXgVuoDRBAbC5vdxdNzf6ir1H4aMBenS6nEkSlKAQELzubjH85D0lBaNQ7Fx9MXB+BRipm2CAuzM3uSdz8nRYrln1TGX/wBK6l5k7U5xAgCAIAgCAjWcDKDtDJ1zmm0r+8h4Q4jW/wCqLnz2G+oq08mObSdG67HzmuovVWd8N3Wa+qib0IDM5IYGcQx+OHXo+NKR5MbbaXruGjlcF6hHKlgU7falZqDqbdC4/uc2MijDIg1oAaAAANQAAsAAuifnzbbxZ9IfAgCAimdLcJUf0Pz41DX1H+7TqXL02HX/AMsoNUjdBAXDmT+Q5+e/82q1ZtDMj7RfHhw82WMrJnwgCAICoM9vyvT80/pqnadZGs9nfhT4rwK3UBoggNhs324um5v9RV6j8NGAvTpdTiSFSlAICF53Nxj+ch6SgtGodi4+mLg/AoxUzbBAXZmb3JO5+TosVyz6pjL/AOldS8ydqc4gQBAEAQBAUBnFyh7fyhdoG8MV2RW2O19+8fSI9QaqFWeVI3d02Pm1BZWtLO/JdXjiRdRnTCAu/NRk92rgXZnjws9na9rYh+zb6bl31hwK5Qhgsd5i77tnLV+Tjqxzde30JwpzihAEAQEUzpbhKj+h+fGoq+o/3adS5emw6/8AllBqiboIC4cyfyHPz3/m1WrNoZkfaL48OHmyxlZM+EAQBAVBnt+V6fmn9NU7TrI1ns78KfFeBW6gNEEBsNm+3GU3Nj8Sr1H4aMBenS6nEkKlKAQELzubjH85D0lBaNQ7Fx9MXB+BRipm2CAuzM3uSdz8nRYrln1TGX/0rqXmTtTnECAIAgCAh2c/KHtPJ8sYbSz3Yy21rbeEf6AbA8LhwKGvPJjgtp1rnsfOK+VLVjnfkv3YiiVSNwEBIsg8A/8AoZQsY4eCZ3830AdTfrGw81+Be6cMuWBz7ztfNqDktZ5lx39RsIBYLoGBOUAQBAEBFs6A+ItR/R/OjUVbUZ07m6bDr/5ZQKom7CAuHMl8iT88Py2q1ZtDMj7RfGhw82WMrJnwgCAICoM9vyvT80/pqnadZGs9nfhT4rwK3UBoggNhs3+4yl5sfiVeo/DRgL06XU4khUpQCAhedzcY7nIekoLRqHYuPpi4PwKMVM2wQF2Zm9yTufk6LFcs+qYy/wDpXUvMnanOIEAQBAcOcA0kmwGsk6gBwkoEscyNdstcfOIY++Ufsx3kI4I2nUbbxcbu9PIudOeXLE/QLusnNaCht0vj/WgwS8l4IC+c2eT3aWTwLxaaaz5L7Wi3g2HzA3twucrtGGTHF6WYa97ZzivhHVjmXm+vwSJcpjlBAEAQBARnOUzSyHqQPmsPqkYT+CirajOldDwtlP8AdjNflRN4EBbGZGrHatTF5QdG8coILTbzFo9YVmzPSjLe0VN5UJ7MGvPzLPVozQQBAEBTeeuYHH4Wja2G55NJ7rdFU7RrI13s9FqhOW9+C/srxQGgCA2Hzf7jKXmx+JV6j8NGAvPpdTiSBSlAICF53dxjuch6SgtGodi4+mLg/AoxUzbBAXZmb3JO5+TosVyz6pjL/wCldS8ydqc4gQBAEBAs7eUPa+C9rsPhJwQ621sPl+14vm0uBV7RPBZO87lx2Pla3Ky0R8dnZp7ClVUNkEBK822T/b2UILxeKGz5OBxv4Nh85F/M0qSlDKkcu97ZzehgtaWZeb/d5fivmFCAIAgCAIDw45Q9s4NND/EjkaDwFzSAfQbLzOOVFoms9Xkqsam5pms7mkOIIII1EHUQRtBC5x+kJp50cIDJ5N45JQYu2eLWRqc0mwkYfGaTvbBr3iAvUZOLxRWtllhaaTpy7dz3mwWAY5DX4eJYHXB8Zp1Ojdvte3eP471wr8JqSxRgrVZalmqOFRej+6MkvRXCAxWUeUEOH0Bkndw6DB40ruBo/vsC8TmoLFlqyWSpaZ5FNdexGvmO4q+txV88vjPOwbGNGprRyAABUJScnize2azxs9JU46F3ngXwnCA2HyA3GUvND8Sr1H4aPz+8+l1OJIFKUQgIXnc3GP5yHpKC0ah2Lj6YuD8CjFTNsEBdmZvck7n5OixXLPqmMv8A6V1LzJ2pziBAEB11E7Y6dz3kNa1pc5x2NaBck+gL43gsWeoxc5KMdLNcMp8adX43JO64DjZjT5EY1Mb6tZ5SVz5SynifodjssbNRjTWzT93t/dxi15LIQGweQOT/AP8APydYxw8K/v5uR7hqb9UWHnBO+r1KGTEwN52znNdyWqsy4f2SRSnPCAIAgCAIAgKQzrZOmlxwzsHgpyTqGpku17T9Lxhw3dwKjWhkyx2M2lyWxVqPJS1o962dmjsIOojtBAezCsVmpKrslPI6N/C3Y4cDmnU4chBX1Np4oir2elXjk1I4r97CZU2disa2z44H8ui5pPns632KVWif2OPP2fs71ZSXZ6HzWZ1qx8ZEbIY7+UGlzhyjSNvWEdomz7T9n7NF4ybf79s/eQzEK+WpqjJO90jztc431cA4Br2DUoW23izsUqMKUcimsEeZCQIAgNh8gNxlLzTfxKvUfho/P7z6XU4kgUpRCAhedzcY/nIekoLRqHYuPpi4PwKMVM2wQF2Zm9yTufk6LFcs+qYy/wDpXUvMnanOIEAQFbZ4soex0TaSM99JZ0tt6MHvW/WcPU3lVa0TzZJorhseXN15aFmXH+ioVVNYEB2U8xjqGvb4zXNcL69bTcavOEPM4qcXF6HmLDZnen0RpU8RO+Q5wBPINdvWp+cS3Iz79naWOab7EfXdem4tH7bv8JzmW4+f47T+o+wd16bi0ftu/wAJzmW4f47T+o+wd16bi0ftu/wnOZbh/jtP6j7B3XpuLR+27/Cc5luH+O0/qPsMzknnJfW49HTvgazsmn3zXk6JaxzvFI1+Lbbvr3Cu5SSaKluuWNnoSqqeOGzD74byxVZM+EB48XwyOrw98MzdJjhY8IO85p3iDrBXmUVJYMloV50aiqQeDRQeV+Sk2G1lnjSicfBygancAd811t7k1XVGcHB5zdWC8Kdrhis0lpX7sMAvBfCAIAgCAIfQh8CA2IyB3G0vNN/ur1H4aPz+8+l1OJn1KUQgIZnb3Fv5yHphQWjUOvcfTFwfgUWqZtwgLszN7knc/J0WK5Z9Uxl/9K6l5k7U5xAgPNiNaynoHyymzGNLnHkA2DhJ2AL5KSisWSUqUqs1COl5jW7GsTfWYrJPJ40jibfNGxrRyBoA9C5zbk8WfolnoRoUo046F+t9Z4l8JggCAIAgCAIAgJNm03cU3nl/JkXulrr92HNvjoU+rxRsCugYMIAgOqqpmS05ZI0PY4Wc1wuHDlBXxpNYM9QnKElKLwaK4x/NMx7i6ik7H/xS3czk0ZPGaPPpbVXlZ/lZobL7QTjmrxx+609mjwITXZA18Ljenc8DyonNeD5gDpesKB0prYdmne9jqf74ccV/XeYw5PVYOulqPcSdVecmW59jLXPLP9SP5L1PRSZJV0r7MpZvrsMY9p9gvqhJ6EyOd42WCxdRdTx8MSdZLZq7SCTEHAgaxDGbg84/+zfXvKeFn+Y4dtv7FZNnX/s/JevYeTPPRRRSUgijYw6M4Og0N71vY9Aat4XdbzlebQkmsCb2fq1JqpltvRpfHErZQGiCA2JyEFsjqXmWfgr9H4aPz68ul1OLM8pCkEBFs5lFJPkhIyFjnv0oiGsBc4gPF7NGs6lDXTcMx07oqwp2uMpvBZ874FKfB2r4rUe4k6qp5Mtz7GbLntm+pH8l6nHweq+K1HuJOqmTLc+xjnln+pH8l6lx5qaCWnyW0Zo3RudLI4NeC12jZoBLTrGtp2q5QTUc5kb7qwqWnGDTWC0EyUxyAgK/zusqpcOihpopJGOc50piY55722g0ht7C5J177Qq9oymkkju3E6EKkqlWSTWjF4adOn9zlV/Bys4pU+4k6qq5Mtz7Gajntm+pH8l6j4O1fFaj3EnVTJlufYxz2zfUj+S9Tj4PVfFaj3EnVTJlufYxzyz/AFI/kvUfB6r4rUe4k6qZMtz7GOeWf6kfyXqPg9V8VqPcSdVMmW59jHPLP9SP5L1Hweq+K1HuJOqmTLc+xjnln+pH8l6j4PVfFaj3EnVTJlufYxzyz/Uj+S9R8HqvitR7iTqpky3PsY55Z/qR/Jepz8HavilR7iTqpky3PsY57ZvqR/JepJc3WA1MeWMD5KeZjG9kLnSROY0eCeBrcBvkD0qSlGWWsxzr2tdCVknGM4tvDMmntRd6vGLCAIAgCAIAgCAICls81Zp5SsjB1RwtvyOe4k/9QxUrQ8Z4Gx9n6eTZ3Pe+5frICoTunB2IfTZXJmnMWTlMw7WwQg+cMF/tuuhTWEUj84tc8uvOS2t+Jk17K4QBAEAQBAEAQBAEAQBAEAQBAEAQBAEAQBAEAQBAEAQBAfE8zY4XOeQ1rQXOJ1BrQLkk+YI3gfYxcmorSzWzKLFDWY5NOf3jyWg7QwamA+ZoaFzZSym2fotkoKhRjS3Lv295jl8LB7MGoTU4vFCP3kjGm28C4aR9AufQiWLwIbRV5KlKpuTZs0BYLpn5ucoAgCAIAgCAIAgCAIAgCAIAgCAIAgCAIAgCAICt85GXhp3mmo3eF/eyjX2H+Rm9pcJ3vP4tatWw/jE0V03Sqq5asv47Fv8Au/t48NOIyVzpSRkMrwZGb0rAA9v02iwcOUWOrfXiFdrNLOWrbcMJfys+Z7no6t3hwLRwnF4Kum06eVsjd/ROtvI5p1tPIQFajNSWKMzXs9WhLJqRaf72nuXohOHOAaSTYDWSdgHCSgSxzIqTOXl02eE0tI7SYf20rdklvIYd9t9p39my96darlfxjoNXdF1SptV6yz7Fu+78itFAaMICwczmD9lxx1Q4d7C0hp4ZHgjVw2Zpe0FNQjjLHccG/wC05FFUlpl4L+/AuZXTHhAEAQBAEAQBAEAQBAEAQBAEAQBAEAQBAEAQEFznZXuoaZsMFxNK0nT/AITL2u3hcTe3B6lBWqOOZHbue7o2mTqVNWOze/QpIm5udu+TvqmbNZggOymqHxTB0b3McNjmOLXDzOGtDzOEZrJkk19zPw5eYgxlhVPt/M1jj7Tmkle+VnvKErpscni6a7X6mOxTH6mrFqieR4+aXWZ7As37F5lJy0ss0bHQo/Dgl99vbpMavhYCA7aSmfNVNjiaXPeQ1rRtcTsTgealSNOLnJ4JGxWSWBNw/A2QtsXDvpHDy5D4x/ADkaF0KcMiOB+fW61ytVZ1H1Lcv3vMwvZUCAIAgCAIAgCAIAgCAIAgCAIAgCAIAgCAIAgMJlVkzDiVBoTXDm3McjfGjJ224QbC43+QgER1Kams5csVuqWSeVDQ9K2P92FG5T5Lz4dU6MzbsJsyVutknp8k/wAp16t8a1SnBwec21jt9K1Rxg8+1bV+7zCryXAgCAIAgOymp3y1DWRtL3uNmtaLlx5AEPM5xhFyk8EtpdmbzIcUEXZqizqlwtYaxTtO1rTvuO+70DVcuuUqWTnekxt63o7S+Tp6i7/63Lrf2m6nOKEAQBAEAQBAEAQBAEAQBAEAQBAEAQBAEAQBAEAQHXUQNkgLJGtc1ws5rgHBw4CDqK+NJ5meozlB5UXg0V/j+aqCVxdSPMLvmOGnGfNr0m+sjkVeVnX+uY71lv8Aqw/jWWUt+h+j/c5B8QzdV8LtUIkHzonh3/V1nfYoXRmth2qV82Sp/thxX/1d5iDk1WA/6Sp9xJ1V4yZbn2Fvn1m+pH8l6nfS5IV0rrNpZh9NnYx65LL6oTexkc7yskNNRdTx8MSUYNmnqJCDVSMhbqu1vhH8o1d6PPcqWNnk9OY5to9oKMc1KLk9+hevgWVk7kvTYfFanZ3xHfSO757/ADu3hq2Cw5FZhTjDQZy126tanjUebdsX7985ml7KYQBAEAQBAEAQBAEAQBAEAQBAEAQBAEAQBAEAQBAEAQBAEAQBAEAQBAEAQBAEAQBAEAQBAEAQBAEAQBAEAQBAEAQBAE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61638" name="Picture 6" descr="https://encrypted-tbn2.gstatic.com/images?q=tbn:ANd9GcROPzf0newJQBjf7EvxfM5oGWill_ilbxvbVnGt4VNxVOYIokl7BQ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2082" y="4962020"/>
            <a:ext cx="400446" cy="3206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r="20753"/>
          <a:stretch>
            <a:fillRect/>
          </a:stretch>
        </p:blipFill>
        <p:spPr bwMode="auto">
          <a:xfrm>
            <a:off x="1053679" y="3993802"/>
            <a:ext cx="7625106" cy="8682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" descr="C:\Documents and Settings\190520\My Documents\My Pictures\comcec.jp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4796" y="2158520"/>
            <a:ext cx="852136" cy="842052"/>
          </a:xfrm>
          <a:prstGeom prst="rect">
            <a:avLst/>
          </a:prstGeom>
          <a:noFill/>
        </p:spPr>
      </p:pic>
      <p:pic>
        <p:nvPicPr>
          <p:cNvPr id="36" name="Picture 11" descr="C:\Documents and Settings\190520\My Documents\My Pictures\sesric.jp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929" y="2205498"/>
            <a:ext cx="748096" cy="748096"/>
          </a:xfrm>
          <a:prstGeom prst="rect">
            <a:avLst/>
          </a:prstGeom>
          <a:noFill/>
        </p:spPr>
      </p:pic>
      <p:pic>
        <p:nvPicPr>
          <p:cNvPr id="37" name="Picture 12" descr="C:\Documents and Settings\190520\My Documents\My Pictures\oic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140" y="2235064"/>
            <a:ext cx="947327" cy="688965"/>
          </a:xfrm>
          <a:prstGeom prst="rect">
            <a:avLst/>
          </a:prstGeom>
          <a:noFill/>
        </p:spPr>
      </p:pic>
      <p:pic>
        <p:nvPicPr>
          <p:cNvPr id="38" name="Image 2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447" y="2143306"/>
            <a:ext cx="809625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 descr="http://www.inweh.unu.edu/river/images/AGFUND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140" y="3159427"/>
            <a:ext cx="1032101" cy="69567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http://www.ejada.com/Customers/Documents/Saudi+Fund+for+Development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5705" y="2183760"/>
            <a:ext cx="1289843" cy="7087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s://encrypted-tbn3.gstatic.com/images?q=tbn:ANd9GcTHOslkCa1UX2XUEKzd78nwJ27GHX6dy6dirc5koUeYCoJNXibR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0299" y="2152342"/>
            <a:ext cx="890096" cy="8900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2" descr="http://for9a.com/en/wp-content/uploads/2013/04/OFID.jp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04031" y="3027346"/>
            <a:ext cx="979860" cy="79228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" descr="http://www.wespeaknews.com/wp-content/uploads/2013/05/Abu-Dhabi-Fund-for-Development-400-x-300.jpg"/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7711937" y="2139306"/>
            <a:ext cx="1166036" cy="75315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http://www.afrique7.com/wp-content/uploads/2013/04/S%C3%A9n%C3%A9gal-l%E2%80%99AFD-soutient-un-projet-d%E2%80%99irrigation.jp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1546" y="4816002"/>
            <a:ext cx="625405" cy="6127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1642" name="Picture 10" descr="http://tfig.unece.org/images/logos/ITC-logo.jp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2706" y="5006438"/>
            <a:ext cx="1058388" cy="4381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1644" name="Picture 12" descr="http://www.asbestosdiseaseawareness.org/wp-content/uploads/ILO.jpg"/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049" y="4855702"/>
            <a:ext cx="696290" cy="6604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1646" name="Picture 14" descr="http://www.euroforensics.com/2010/sponsor/TIKA.jpg"/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6069" y="3000572"/>
            <a:ext cx="745834" cy="9033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1648" name="Picture 16" descr="https://si0.twimg.com/profile_images/2298341202/qfvz908qk4pt0p68wvpe.jpe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6605" y="4854703"/>
            <a:ext cx="706617" cy="6995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2048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4776" name="Rectangle 4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2249425" y="1819656"/>
            <a:ext cx="5230368" cy="4392458"/>
          </a:xfrm>
        </p:spPr>
        <p:txBody>
          <a:bodyPr lIns="72000"/>
          <a:lstStyle/>
          <a:p>
            <a:pPr algn="ctr"/>
            <a:r>
              <a:rPr lang="ar-SA" sz="5400" b="1" dirty="0" smtClean="0">
                <a:solidFill>
                  <a:srgbClr val="006400"/>
                </a:solidFill>
                <a:cs typeface="Monotype Koufi" pitchFamily="2" charset="-78"/>
              </a:rPr>
              <a:t>شكرا</a:t>
            </a:r>
            <a:r>
              <a:rPr lang="ar-SA" sz="5400" b="1" dirty="0" smtClean="0">
                <a:solidFill>
                  <a:srgbClr val="003300"/>
                </a:solidFill>
                <a:cs typeface="Monotype Koufi" pitchFamily="2" charset="-78"/>
              </a:rPr>
              <a:t>  </a:t>
            </a:r>
            <a:r>
              <a:rPr lang="ar-SA" sz="5400" b="1" dirty="0" smtClean="0">
                <a:solidFill>
                  <a:srgbClr val="006400"/>
                </a:solidFill>
                <a:cs typeface="Monotype Koufi" pitchFamily="2" charset="-78"/>
              </a:rPr>
              <a:t>لكم</a:t>
            </a:r>
            <a:r>
              <a:rPr lang="fr-FR" sz="2800" b="1" dirty="0" smtClean="0">
                <a:solidFill>
                  <a:srgbClr val="003300"/>
                </a:solidFill>
                <a:cs typeface="Monotype Koufi" pitchFamily="2" charset="-78"/>
              </a:rPr>
              <a:t/>
            </a:r>
            <a:br>
              <a:rPr lang="fr-FR" sz="2800" b="1" dirty="0" smtClean="0">
                <a:solidFill>
                  <a:srgbClr val="003300"/>
                </a:solidFill>
                <a:cs typeface="Monotype Koufi" pitchFamily="2" charset="-78"/>
              </a:rPr>
            </a:br>
            <a:r>
              <a:rPr lang="en-US" sz="2800" b="1" dirty="0" smtClean="0">
                <a:solidFill>
                  <a:srgbClr val="003300"/>
                </a:solidFill>
                <a:cs typeface="Monotype Koufi" pitchFamily="2" charset="-78"/>
              </a:rPr>
              <a:t/>
            </a:r>
            <a:br>
              <a:rPr lang="en-US" sz="2800" b="1" dirty="0" smtClean="0">
                <a:solidFill>
                  <a:srgbClr val="003300"/>
                </a:solidFill>
                <a:cs typeface="Monotype Koufi" pitchFamily="2" charset="-78"/>
              </a:rPr>
            </a:br>
            <a:r>
              <a:rPr lang="en-US" sz="3200" b="1" dirty="0" smtClean="0">
                <a:solidFill>
                  <a:srgbClr val="006400"/>
                </a:solidFill>
              </a:rPr>
              <a:t>Thank you</a:t>
            </a:r>
            <a:r>
              <a:rPr lang="en-US" sz="2800" b="1" dirty="0" smtClean="0">
                <a:solidFill>
                  <a:srgbClr val="006400"/>
                </a:solidFill>
              </a:rPr>
              <a:t/>
            </a:r>
            <a:br>
              <a:rPr lang="en-US" sz="2800" b="1" dirty="0" smtClean="0">
                <a:solidFill>
                  <a:srgbClr val="006400"/>
                </a:solidFill>
              </a:rPr>
            </a:br>
            <a:r>
              <a:rPr lang="en-US" sz="2800" b="1" dirty="0" smtClean="0">
                <a:solidFill>
                  <a:srgbClr val="006400"/>
                </a:solidFill>
              </a:rPr>
              <a:t/>
            </a:r>
            <a:br>
              <a:rPr lang="en-US" sz="2800" b="1" dirty="0" smtClean="0">
                <a:solidFill>
                  <a:srgbClr val="006400"/>
                </a:solidFill>
              </a:rPr>
            </a:br>
            <a:r>
              <a:rPr lang="en-US" sz="3200" b="1" dirty="0" err="1" smtClean="0">
                <a:solidFill>
                  <a:srgbClr val="006400"/>
                </a:solidFill>
              </a:rPr>
              <a:t>Walid</a:t>
            </a:r>
            <a:r>
              <a:rPr lang="en-US" sz="3200" b="1" dirty="0" smtClean="0">
                <a:solidFill>
                  <a:srgbClr val="006400"/>
                </a:solidFill>
              </a:rPr>
              <a:t> </a:t>
            </a:r>
            <a:r>
              <a:rPr lang="en-US" sz="3200" b="1" dirty="0" err="1" smtClean="0">
                <a:solidFill>
                  <a:srgbClr val="006400"/>
                </a:solidFill>
              </a:rPr>
              <a:t>Abdelwahab</a:t>
            </a:r>
            <a:r>
              <a:rPr lang="en-US" sz="3200" b="1" dirty="0" smtClean="0">
                <a:solidFill>
                  <a:srgbClr val="006400"/>
                </a:solidFill>
              </a:rPr>
              <a:t/>
            </a:r>
            <a:br>
              <a:rPr lang="en-US" sz="3200" b="1" dirty="0" smtClean="0">
                <a:solidFill>
                  <a:srgbClr val="006400"/>
                </a:solidFill>
              </a:rPr>
            </a:br>
            <a:r>
              <a:rPr lang="en-US" sz="2400" b="1" dirty="0" smtClean="0">
                <a:solidFill>
                  <a:srgbClr val="006400"/>
                </a:solidFill>
              </a:rPr>
              <a:t>wabdelwahab@isdb.org</a:t>
            </a:r>
          </a:p>
        </p:txBody>
      </p:sp>
      <p:sp>
        <p:nvSpPr>
          <p:cNvPr id="1824775" name="Rectangle 64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069388" y="6572250"/>
            <a:ext cx="538162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34C82183-93BD-452C-9EE5-BB7DB3117864}" type="slidenum">
              <a:rPr lang="en-US" smtClean="0">
                <a:latin typeface="Calibri" pitchFamily="34" charset="0"/>
                <a:cs typeface="Calibri" pitchFamily="34" charset="0"/>
              </a:rPr>
              <a:pPr/>
              <a:t>18</a:t>
            </a:fld>
            <a:endParaRPr lang="en-US" dirty="0" smtClean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824774" name="AutoShap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0408" name="think-cell Slide" r:id="rId6" imgW="0" imgH="0" progId="">
              <p:embed/>
            </p:oleObj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9425" y="406400"/>
            <a:ext cx="5145333" cy="1023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4776" name="Rectangle 4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1122363" y="2224088"/>
            <a:ext cx="7947026" cy="3606800"/>
          </a:xfrm>
        </p:spPr>
        <p:txBody>
          <a:bodyPr lIns="72000"/>
          <a:lstStyle/>
          <a:p>
            <a:r>
              <a:rPr lang="en-US" b="1" dirty="0" smtClean="0"/>
              <a:t>Snapshot of IDB Group</a:t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sz="300" b="1" dirty="0" smtClean="0"/>
              <a:t/>
            </a:r>
            <a:br>
              <a:rPr lang="en-US" sz="300" b="1" dirty="0" smtClean="0"/>
            </a:br>
            <a:r>
              <a:rPr lang="en-US" sz="300" b="1" dirty="0" smtClean="0"/>
              <a:t/>
            </a:r>
            <a:br>
              <a:rPr lang="en-US" sz="300" b="1" dirty="0" smtClean="0"/>
            </a:br>
            <a:r>
              <a:rPr lang="en-US" sz="300" b="1" dirty="0"/>
              <a:t/>
            </a:r>
            <a:br>
              <a:rPr lang="en-US" sz="300" b="1" dirty="0"/>
            </a:br>
            <a:r>
              <a:rPr lang="en-US" b="1" dirty="0" smtClean="0"/>
              <a:t>Trade </a:t>
            </a:r>
            <a:r>
              <a:rPr lang="en-US" b="1" dirty="0"/>
              <a:t>and Transport across </a:t>
            </a:r>
            <a:r>
              <a:rPr lang="en-US" b="1" dirty="0" smtClean="0"/>
              <a:t>IDB regions</a:t>
            </a:r>
            <a:br>
              <a:rPr lang="en-US" b="1" dirty="0" smtClean="0"/>
            </a:br>
            <a:r>
              <a:rPr lang="en-US" sz="1800" b="1" dirty="0" smtClean="0"/>
              <a:t/>
            </a:r>
            <a:br>
              <a:rPr lang="en-US" sz="1800" b="1" dirty="0" smtClean="0"/>
            </a:br>
            <a:r>
              <a:rPr lang="en-US" sz="900" b="1" dirty="0" smtClean="0"/>
              <a:t/>
            </a:r>
            <a:br>
              <a:rPr lang="en-US" sz="900" b="1" dirty="0" smtClean="0"/>
            </a:br>
            <a:r>
              <a:rPr lang="en-US" b="1" dirty="0"/>
              <a:t>Initiatives of the IDB Group </a:t>
            </a:r>
            <a:r>
              <a:rPr lang="en-US" b="1" dirty="0" smtClean="0"/>
              <a:t>for developing </a:t>
            </a:r>
            <a:r>
              <a:rPr lang="en-US" b="1" dirty="0"/>
              <a:t>trade and transport </a:t>
            </a:r>
            <a:r>
              <a:rPr lang="en-US" b="1" dirty="0" smtClean="0"/>
              <a:t>across Africa, Asia and the Middle East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en-US" sz="2000" b="1" dirty="0" smtClean="0"/>
              <a:t> </a:t>
            </a:r>
            <a:r>
              <a:rPr lang="en-US" sz="1800" b="1" dirty="0" smtClean="0"/>
              <a:t/>
            </a:r>
            <a:br>
              <a:rPr lang="en-US" sz="1800" b="1" dirty="0" smtClean="0"/>
            </a:br>
            <a:r>
              <a:rPr lang="en-US" sz="1800" b="1" dirty="0"/>
              <a:t>	</a:t>
            </a:r>
            <a:r>
              <a:rPr lang="en-US" sz="1800" b="1" dirty="0" smtClean="0"/>
              <a:t/>
            </a:r>
            <a:br>
              <a:rPr lang="en-US" sz="1800" b="1" dirty="0" smtClean="0"/>
            </a:br>
            <a:r>
              <a:rPr lang="en-US" sz="1800" b="1" dirty="0" smtClean="0"/>
              <a:t>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US" b="1" dirty="0" smtClean="0"/>
          </a:p>
        </p:txBody>
      </p:sp>
      <p:sp>
        <p:nvSpPr>
          <p:cNvPr id="1824775" name="Rectangle 64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069388" y="6572250"/>
            <a:ext cx="538162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34C82183-93BD-452C-9EE5-BB7DB3117864}" type="slidenum">
              <a:rPr lang="en-US" smtClean="0">
                <a:latin typeface="Calibri" pitchFamily="34" charset="0"/>
                <a:cs typeface="Calibri" pitchFamily="34" charset="0"/>
              </a:rPr>
              <a:pPr/>
              <a:t>1</a:t>
            </a:fld>
            <a:endParaRPr lang="en-US" dirty="0" smtClean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824774" name="AutoShape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24818" name="think-cell Slide" r:id="rId7" imgW="0" imgH="0" progId="">
              <p:embed/>
            </p:oleObj>
          </a:graphicData>
        </a:graphic>
      </p:graphicFrame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7338" y="1097004"/>
            <a:ext cx="9320212" cy="380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95000"/>
              </a:lnSpc>
            </a:pPr>
            <a:r>
              <a:rPr lang="en-US" sz="2600" b="1" dirty="0" smtClean="0">
                <a:solidFill>
                  <a:srgbClr val="008200"/>
                </a:solidFill>
                <a:latin typeface="Book Antiqua" pitchFamily="18" charset="0"/>
              </a:rPr>
              <a:t>Outline</a:t>
            </a:r>
            <a:endParaRPr lang="en-US" sz="2600" b="1" dirty="0">
              <a:solidFill>
                <a:srgbClr val="008200"/>
              </a:solidFill>
              <a:latin typeface="Book Antiqua" pitchFamily="18" charset="0"/>
            </a:endParaRPr>
          </a:p>
        </p:txBody>
      </p:sp>
      <p:sp>
        <p:nvSpPr>
          <p:cNvPr id="7" name="Étoile à 10 branches 32"/>
          <p:cNvSpPr/>
          <p:nvPr/>
        </p:nvSpPr>
        <p:spPr bwMode="auto">
          <a:xfrm>
            <a:off x="550673" y="2224088"/>
            <a:ext cx="566928" cy="548449"/>
          </a:xfrm>
          <a:prstGeom prst="star10">
            <a:avLst/>
          </a:prstGeom>
          <a:solidFill>
            <a:srgbClr val="008200"/>
          </a:solidFill>
          <a:ln w="28575" algn="ctr">
            <a:solidFill>
              <a:schemeClr val="bg1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endParaRPr lang="fr-FR" sz="1400" b="1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Étoile à 10 branches 32"/>
          <p:cNvSpPr/>
          <p:nvPr/>
        </p:nvSpPr>
        <p:spPr bwMode="auto">
          <a:xfrm>
            <a:off x="570422" y="3420237"/>
            <a:ext cx="566928" cy="548449"/>
          </a:xfrm>
          <a:prstGeom prst="star10">
            <a:avLst/>
          </a:prstGeom>
          <a:solidFill>
            <a:srgbClr val="008200"/>
          </a:solidFill>
          <a:ln w="28575" algn="ctr">
            <a:solidFill>
              <a:schemeClr val="bg1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endParaRPr lang="fr-FR" sz="1400" b="1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Étoile à 10 branches 32"/>
          <p:cNvSpPr/>
          <p:nvPr/>
        </p:nvSpPr>
        <p:spPr bwMode="auto">
          <a:xfrm>
            <a:off x="555435" y="4582700"/>
            <a:ext cx="566928" cy="548449"/>
          </a:xfrm>
          <a:prstGeom prst="star10">
            <a:avLst/>
          </a:prstGeom>
          <a:solidFill>
            <a:srgbClr val="008200"/>
          </a:solidFill>
          <a:ln w="28575" algn="ctr">
            <a:solidFill>
              <a:schemeClr val="bg1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indent="0" algn="ctr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</a:pPr>
            <a:endParaRPr lang="fr-FR" sz="1400" b="1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ight Arrow 18"/>
          <p:cNvSpPr/>
          <p:nvPr/>
        </p:nvSpPr>
        <p:spPr bwMode="auto">
          <a:xfrm>
            <a:off x="239763" y="1011562"/>
            <a:ext cx="9462941" cy="397554"/>
          </a:xfrm>
          <a:prstGeom prst="rightArrow">
            <a:avLst/>
          </a:prstGeom>
          <a:gradFill>
            <a:gsLst>
              <a:gs pos="0">
                <a:srgbClr val="00B05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7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9069388" y="6125934"/>
            <a:ext cx="538162" cy="182563"/>
          </a:xfrm>
        </p:spPr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="" xmlns:p14="http://schemas.microsoft.com/office/powerpoint/2010/main" val="2647454842"/>
              </p:ext>
            </p:extLst>
          </p:nvPr>
        </p:nvGraphicFramePr>
        <p:xfrm>
          <a:off x="-577946" y="3196768"/>
          <a:ext cx="5359401" cy="2728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228600" y="432267"/>
            <a:ext cx="8902700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 smtClean="0"/>
              <a:t>Snapshot of IDB Group - </a:t>
            </a:r>
            <a:r>
              <a:rPr lang="en-US" i="1" kern="0" dirty="0" smtClean="0"/>
              <a:t>Overview</a:t>
            </a:r>
            <a:r>
              <a:rPr lang="en-US" kern="0" dirty="0" smtClean="0"/>
              <a:t> </a:t>
            </a:r>
            <a:endParaRPr lang="en-US" kern="0" dirty="0"/>
          </a:p>
        </p:txBody>
      </p:sp>
      <p:pic>
        <p:nvPicPr>
          <p:cNvPr id="6" name="Picture 9" descr="logo_irti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101755" y="1544123"/>
            <a:ext cx="1601563" cy="1286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1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201992" y="1511557"/>
            <a:ext cx="1500712" cy="1293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8" descr="iciec-logo-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194029" y="1544123"/>
            <a:ext cx="1136907" cy="1077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0" descr="ICD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1500" y="1615560"/>
            <a:ext cx="1033743" cy="8595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0" name="Picture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828" y="1415533"/>
            <a:ext cx="1825464" cy="1427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6"/>
          <p:cNvSpPr>
            <a:spLocks noChangeArrowheads="1"/>
          </p:cNvSpPr>
          <p:nvPr/>
        </p:nvSpPr>
        <p:spPr bwMode="gray">
          <a:xfrm>
            <a:off x="803694" y="1007579"/>
            <a:ext cx="599995" cy="354930"/>
          </a:xfrm>
          <a:prstGeom prst="rect">
            <a:avLst/>
          </a:prstGeom>
          <a:solidFill>
            <a:srgbClr val="A68806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 charset="0"/>
              </a:rPr>
              <a:t>1975</a:t>
            </a:r>
            <a:endParaRPr 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2649616" y="1007579"/>
            <a:ext cx="599995" cy="354930"/>
          </a:xfrm>
          <a:prstGeom prst="rect">
            <a:avLst/>
          </a:prstGeom>
          <a:solidFill>
            <a:srgbClr val="A68806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 charset="0"/>
              </a:rPr>
              <a:t>1981</a:t>
            </a:r>
            <a:endParaRPr 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gray">
          <a:xfrm>
            <a:off x="4630017" y="1008973"/>
            <a:ext cx="599995" cy="354930"/>
          </a:xfrm>
          <a:prstGeom prst="rect">
            <a:avLst/>
          </a:prstGeom>
          <a:solidFill>
            <a:srgbClr val="A68806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 charset="0"/>
              </a:rPr>
              <a:t>1994</a:t>
            </a:r>
            <a:endParaRPr 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gray">
          <a:xfrm>
            <a:off x="6618375" y="1007579"/>
            <a:ext cx="599995" cy="354930"/>
          </a:xfrm>
          <a:prstGeom prst="rect">
            <a:avLst/>
          </a:prstGeom>
          <a:solidFill>
            <a:srgbClr val="A68806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 charset="0"/>
              </a:rPr>
              <a:t>1999</a:t>
            </a:r>
            <a:endParaRPr 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8595218" y="1008973"/>
            <a:ext cx="599995" cy="354930"/>
          </a:xfrm>
          <a:prstGeom prst="rect">
            <a:avLst/>
          </a:prstGeom>
          <a:solidFill>
            <a:srgbClr val="A68806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/>
          <a:lstStyle/>
          <a:p>
            <a:pPr algn="ctr"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Arial" charset="0"/>
              </a:rPr>
              <a:t>2008</a:t>
            </a:r>
            <a:endParaRPr 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graphicFrame>
        <p:nvGraphicFramePr>
          <p:cNvPr id="16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16099644"/>
              </p:ext>
            </p:extLst>
          </p:nvPr>
        </p:nvGraphicFramePr>
        <p:xfrm>
          <a:off x="5289235" y="3507239"/>
          <a:ext cx="4124890" cy="2274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5929731" y="5781446"/>
            <a:ext cx="33903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ector distribution of IDB project financing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03202" y="3245981"/>
            <a:ext cx="2251240" cy="461665"/>
          </a:xfrm>
          <a:prstGeom prst="rect">
            <a:avLst/>
          </a:prstGeom>
          <a:solidFill>
            <a:srgbClr val="008200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US$ 84.9 billion total approvals since inception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Striped Right Arrow 16"/>
          <p:cNvSpPr/>
          <p:nvPr/>
        </p:nvSpPr>
        <p:spPr bwMode="auto">
          <a:xfrm>
            <a:off x="4081112" y="4321743"/>
            <a:ext cx="848902" cy="510139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92754" y="3245981"/>
            <a:ext cx="2534715" cy="276999"/>
          </a:xfrm>
          <a:prstGeom prst="rect">
            <a:avLst/>
          </a:prstGeom>
          <a:solidFill>
            <a:srgbClr val="008200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Transport is a priority for IDB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2588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16" grpId="0">
        <p:bldAsOne/>
      </p:bldGraphic>
      <p:bldP spid="18" grpId="0"/>
      <p:bldP spid="3" grpId="0" animBg="1"/>
      <p:bldP spid="17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9069388" y="6501725"/>
            <a:ext cx="538162" cy="182563"/>
          </a:xfrm>
        </p:spPr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261257" y="432267"/>
            <a:ext cx="9644743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 smtClean="0"/>
              <a:t>Snapshot of IDB Group – </a:t>
            </a:r>
            <a:br>
              <a:rPr lang="en-US" kern="0" dirty="0" smtClean="0"/>
            </a:br>
            <a:r>
              <a:rPr lang="en-US" sz="2000" i="1" kern="0" dirty="0" smtClean="0"/>
              <a:t>The only South-South MDB present across Africa Asia and the Arab regions</a:t>
            </a:r>
            <a:endParaRPr lang="en-US" sz="2000" kern="0" dirty="0"/>
          </a:p>
        </p:txBody>
      </p:sp>
      <p:pic>
        <p:nvPicPr>
          <p:cNvPr id="4" name="Picture 7" descr="Picture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476827"/>
            <a:ext cx="9924634" cy="4590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28686" y="5457371"/>
            <a:ext cx="54138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AA rating  (S&amp;P, Moody’s) </a:t>
            </a:r>
          </a:p>
          <a:p>
            <a:r>
              <a:rPr lang="en-US" b="1" dirty="0" smtClean="0"/>
              <a:t>Zero Risk (Basel Committee on Banking supervision)</a:t>
            </a:r>
          </a:p>
          <a:p>
            <a:r>
              <a:rPr lang="en-US" b="1" dirty="0" smtClean="0"/>
              <a:t>Capital increases (May 2013)</a:t>
            </a:r>
          </a:p>
          <a:p>
            <a:r>
              <a:rPr lang="en-US" dirty="0" smtClean="0"/>
              <a:t>	Authorized </a:t>
            </a:r>
            <a:r>
              <a:rPr lang="en-US" dirty="0"/>
              <a:t>capital </a:t>
            </a:r>
            <a:r>
              <a:rPr lang="en-US" dirty="0" smtClean="0"/>
              <a:t>tripled to US$150 billion</a:t>
            </a:r>
          </a:p>
          <a:p>
            <a:r>
              <a:rPr lang="en-US" dirty="0" smtClean="0"/>
              <a:t>	Subscribed </a:t>
            </a:r>
            <a:r>
              <a:rPr lang="en-US" dirty="0"/>
              <a:t>capital </a:t>
            </a:r>
            <a:r>
              <a:rPr lang="en-US" dirty="0" smtClean="0"/>
              <a:t>tripled to US$ 75 bill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4901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261257" y="432267"/>
            <a:ext cx="9644743" cy="80753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en-US" kern="0" dirty="0" smtClean="0"/>
              <a:t>Snapshot of IDB Group – </a:t>
            </a:r>
            <a:r>
              <a:rPr lang="en-US" i="1" kern="0" dirty="0" smtClean="0"/>
              <a:t>Strategic focus on regional integration</a:t>
            </a:r>
            <a:endParaRPr lang="en-US" kern="0" dirty="0"/>
          </a:p>
        </p:txBody>
      </p:sp>
      <p:pic>
        <p:nvPicPr>
          <p:cNvPr id="4" name="Picture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6212858" y="3480084"/>
            <a:ext cx="3523742" cy="1999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17"/>
          <p:cNvSpPr/>
          <p:nvPr/>
        </p:nvSpPr>
        <p:spPr>
          <a:xfrm>
            <a:off x="6631464" y="3163545"/>
            <a:ext cx="2898876" cy="237454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1400" b="1" dirty="0" smtClean="0"/>
              <a:t>Mid-term business strategy</a:t>
            </a:r>
            <a:endParaRPr lang="en-US" sz="1400" b="1" dirty="0"/>
          </a:p>
        </p:txBody>
      </p:sp>
      <p:sp>
        <p:nvSpPr>
          <p:cNvPr id="6" name="Rectangle 5"/>
          <p:cNvSpPr/>
          <p:nvPr/>
        </p:nvSpPr>
        <p:spPr>
          <a:xfrm>
            <a:off x="7974729" y="4236303"/>
            <a:ext cx="1840793" cy="351094"/>
          </a:xfrm>
          <a:prstGeom prst="rect">
            <a:avLst/>
          </a:prstGeom>
          <a:solidFill>
            <a:srgbClr val="FFFF00">
              <a:alpha val="17000"/>
            </a:srgbClr>
          </a:solidFill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7" name="Diagramme 10"/>
          <p:cNvGraphicFramePr/>
          <p:nvPr>
            <p:extLst>
              <p:ext uri="{D42A27DB-BD31-4B8C-83A1-F6EECF244321}">
                <p14:modId xmlns="" xmlns:p14="http://schemas.microsoft.com/office/powerpoint/2010/main" val="797059315"/>
              </p:ext>
            </p:extLst>
          </p:nvPr>
        </p:nvGraphicFramePr>
        <p:xfrm>
          <a:off x="2249713" y="2429112"/>
          <a:ext cx="3231356" cy="36834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Chevron 8"/>
          <p:cNvSpPr/>
          <p:nvPr/>
        </p:nvSpPr>
        <p:spPr>
          <a:xfrm>
            <a:off x="5468402" y="3449767"/>
            <a:ext cx="503428" cy="2304288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67887" y="5286657"/>
            <a:ext cx="2700515" cy="385226"/>
          </a:xfrm>
          <a:prstGeom prst="rect">
            <a:avLst/>
          </a:prstGeom>
          <a:solidFill>
            <a:srgbClr val="FFFF00">
              <a:alpha val="17000"/>
            </a:srgbClr>
          </a:solidFill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ular Callout 24"/>
          <p:cNvSpPr/>
          <p:nvPr/>
        </p:nvSpPr>
        <p:spPr bwMode="auto">
          <a:xfrm>
            <a:off x="3318233" y="1011203"/>
            <a:ext cx="5216167" cy="893797"/>
          </a:xfrm>
          <a:prstGeom prst="wedgeRectCallout">
            <a:avLst>
              <a:gd name="adj1" fmla="val -52544"/>
              <a:gd name="adj2" fmla="val 31594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just" eaLnBrk="0" hangingPunct="0"/>
            <a:r>
              <a:rPr lang="en-US" sz="1400" b="1" dirty="0">
                <a:latin typeface="Arial" pitchFamily="34" charset="0"/>
              </a:rPr>
              <a:t>The strategic thrust of the IDB Vision 2020 </a:t>
            </a:r>
            <a:r>
              <a:rPr lang="en-US" sz="1400" b="1" dirty="0" smtClean="0">
                <a:latin typeface="Arial" pitchFamily="34" charset="0"/>
              </a:rPr>
              <a:t>is to </a:t>
            </a:r>
            <a:r>
              <a:rPr lang="en-US" sz="1400" b="1" dirty="0">
                <a:latin typeface="Arial" pitchFamily="34" charset="0"/>
              </a:rPr>
              <a:t>support </a:t>
            </a:r>
            <a:endParaRPr lang="en-US" sz="1400" b="1" dirty="0" smtClean="0">
              <a:latin typeface="Arial" pitchFamily="34" charset="0"/>
            </a:endParaRPr>
          </a:p>
          <a:p>
            <a:pPr algn="just" eaLnBrk="0" hangingPunct="0"/>
            <a:r>
              <a:rPr lang="en-US" sz="1400" b="1" dirty="0" smtClean="0">
                <a:latin typeface="Arial" pitchFamily="34" charset="0"/>
              </a:rPr>
              <a:t>and </a:t>
            </a:r>
            <a:r>
              <a:rPr lang="en-US" sz="1400" b="1" dirty="0">
                <a:latin typeface="Arial" pitchFamily="34" charset="0"/>
              </a:rPr>
              <a:t>promote greater economic </a:t>
            </a:r>
            <a:r>
              <a:rPr lang="en-US" sz="1400" b="1" dirty="0" smtClean="0">
                <a:latin typeface="Arial" pitchFamily="34" charset="0"/>
              </a:rPr>
              <a:t> cooperation </a:t>
            </a:r>
            <a:r>
              <a:rPr lang="en-US" sz="1400" b="1" dirty="0">
                <a:latin typeface="Arial" pitchFamily="34" charset="0"/>
              </a:rPr>
              <a:t>and </a:t>
            </a:r>
            <a:endParaRPr lang="en-US" sz="1400" b="1" dirty="0" smtClean="0">
              <a:latin typeface="Arial" pitchFamily="34" charset="0"/>
            </a:endParaRPr>
          </a:p>
          <a:p>
            <a:pPr algn="just" eaLnBrk="0" hangingPunct="0"/>
            <a:r>
              <a:rPr lang="en-US" sz="1400" b="1" dirty="0" smtClean="0">
                <a:latin typeface="Arial" pitchFamily="34" charset="0"/>
              </a:rPr>
              <a:t>integration </a:t>
            </a:r>
            <a:r>
              <a:rPr lang="en-US" sz="1400" b="1" dirty="0">
                <a:latin typeface="Arial" pitchFamily="34" charset="0"/>
              </a:rPr>
              <a:t>at regional level. 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1851394" name="Picture 2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57150" y="1722066"/>
            <a:ext cx="2433252" cy="34554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="" xmlns:p14="http://schemas.microsoft.com/office/powerpoint/2010/main" val="4027175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Graphic spid="7" grpId="0">
        <p:bldAsOne/>
      </p:bldGraphic>
      <p:bldP spid="9" grpId="0" animBg="1"/>
      <p:bldP spid="10" grpId="0" animBg="1"/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1851394" name="Picture 2" descr="http://people.hofstra.edu/geotrans/eng/ch1en/conc1en/img/world_land_networ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285963"/>
            <a:ext cx="6691760" cy="42512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3300185" y="5709558"/>
            <a:ext cx="5782129" cy="70788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b="1" dirty="0" smtClean="0"/>
              <a:t>“While </a:t>
            </a:r>
            <a:r>
              <a:rPr lang="en-US" sz="1400" b="1" dirty="0"/>
              <a:t>the global road and rail networks appear to be integrated and interconnected, this is far from being the case. </a:t>
            </a:r>
            <a:r>
              <a:rPr lang="en-US" sz="1400" b="1" dirty="0" smtClean="0"/>
              <a:t>”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		</a:t>
            </a:r>
            <a:r>
              <a:rPr lang="en-US" dirty="0" smtClean="0"/>
              <a:t>J-P. </a:t>
            </a:r>
            <a:r>
              <a:rPr lang="en-US" dirty="0" err="1" smtClean="0"/>
              <a:t>Rodrigue</a:t>
            </a:r>
            <a:r>
              <a:rPr lang="en-US" dirty="0" smtClean="0"/>
              <a:t>, the Geography of transport systems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86214" y="350765"/>
            <a:ext cx="890179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en-US" sz="2400" b="1" kern="0" dirty="0">
                <a:latin typeface="+mj-lt"/>
                <a:ea typeface="+mj-ea"/>
                <a:cs typeface="+mj-cs"/>
              </a:rPr>
              <a:t>Developing Trade and Transport across </a:t>
            </a:r>
            <a:r>
              <a:rPr lang="en-US" sz="2400" b="1" kern="0" dirty="0" smtClean="0">
                <a:latin typeface="+mj-lt"/>
                <a:ea typeface="+mj-ea"/>
                <a:cs typeface="+mj-cs"/>
              </a:rPr>
              <a:t>IDB regions</a:t>
            </a:r>
            <a:br>
              <a:rPr lang="en-US" sz="2400" b="1" kern="0" dirty="0" smtClean="0">
                <a:latin typeface="+mj-lt"/>
                <a:ea typeface="+mj-ea"/>
                <a:cs typeface="+mj-cs"/>
              </a:rPr>
            </a:br>
            <a:r>
              <a:rPr lang="en-US" sz="2400" b="1" kern="0" dirty="0" smtClean="0">
                <a:latin typeface="+mj-lt"/>
                <a:ea typeface="+mj-ea"/>
                <a:cs typeface="+mj-cs"/>
              </a:rPr>
              <a:t>	</a:t>
            </a:r>
            <a:r>
              <a:rPr lang="en-US" sz="2400" b="1" i="1" kern="0" dirty="0" smtClean="0">
                <a:latin typeface="+mj-lt"/>
                <a:ea typeface="+mj-ea"/>
                <a:cs typeface="+mj-cs"/>
              </a:rPr>
              <a:t>1) Integration and interconnection of transport networks</a:t>
            </a:r>
            <a:endParaRPr lang="en-US" sz="2400" b="1" i="1" kern="0" dirty="0">
              <a:latin typeface="+mj-lt"/>
              <a:ea typeface="+mj-ea"/>
              <a:cs typeface="+mj-cs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6969426" y="1491898"/>
            <a:ext cx="2784174" cy="3524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969426" y="5148400"/>
            <a:ext cx="3390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issing links along African </a:t>
            </a:r>
            <a:r>
              <a:rPr lang="en-US" b="1" dirty="0" err="1" smtClean="0"/>
              <a:t>Hihways</a:t>
            </a:r>
            <a:endParaRPr lang="en-US" b="1" dirty="0" smtClean="0"/>
          </a:p>
          <a:p>
            <a:r>
              <a:rPr lang="en-US" b="1" dirty="0"/>
              <a:t>	</a:t>
            </a:r>
            <a:r>
              <a:rPr lang="en-US" b="1" dirty="0" smtClean="0"/>
              <a:t>	</a:t>
            </a:r>
            <a:r>
              <a:rPr lang="en-US" sz="1050" dirty="0" smtClean="0"/>
              <a:t>Source: </a:t>
            </a:r>
            <a:r>
              <a:rPr lang="en-US" sz="1050" dirty="0" err="1" smtClean="0"/>
              <a:t>AfDB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-85224" y="5501059"/>
            <a:ext cx="3390335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Flat view of main global land transport networks</a:t>
            </a:r>
          </a:p>
          <a:p>
            <a:r>
              <a:rPr lang="en-US" sz="900" dirty="0" smtClean="0"/>
              <a:t>Source: J-P. </a:t>
            </a:r>
            <a:r>
              <a:rPr lang="en-US" sz="900" dirty="0" err="1" smtClean="0"/>
              <a:t>Rodrigue</a:t>
            </a:r>
            <a:r>
              <a:rPr lang="en-US" sz="900" dirty="0" smtClean="0"/>
              <a:t>, the Geography of transport systems</a:t>
            </a:r>
            <a:endParaRPr lang="en-US" sz="900" dirty="0"/>
          </a:p>
        </p:txBody>
      </p:sp>
    </p:spTree>
    <p:extLst>
      <p:ext uri="{BB962C8B-B14F-4D97-AF65-F5344CB8AC3E}">
        <p14:creationId xmlns="" xmlns:p14="http://schemas.microsoft.com/office/powerpoint/2010/main" val="1738946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86214" y="350765"/>
            <a:ext cx="890179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en-US" sz="2400" b="1" kern="0" dirty="0">
                <a:latin typeface="+mj-lt"/>
                <a:ea typeface="+mj-ea"/>
                <a:cs typeface="+mj-cs"/>
              </a:rPr>
              <a:t>Developing Trade and Transport across </a:t>
            </a:r>
            <a:r>
              <a:rPr lang="en-US" sz="2400" b="1" kern="0" dirty="0" smtClean="0">
                <a:latin typeface="+mj-lt"/>
                <a:ea typeface="+mj-ea"/>
                <a:cs typeface="+mj-cs"/>
              </a:rPr>
              <a:t>IDB regions</a:t>
            </a:r>
            <a:br>
              <a:rPr lang="en-US" sz="2400" b="1" kern="0" dirty="0" smtClean="0">
                <a:latin typeface="+mj-lt"/>
                <a:ea typeface="+mj-ea"/>
                <a:cs typeface="+mj-cs"/>
              </a:rPr>
            </a:br>
            <a:r>
              <a:rPr lang="en-US" sz="2400" b="1" kern="0" dirty="0" smtClean="0">
                <a:latin typeface="+mj-lt"/>
                <a:ea typeface="+mj-ea"/>
                <a:cs typeface="+mj-cs"/>
              </a:rPr>
              <a:t>	</a:t>
            </a:r>
            <a:r>
              <a:rPr lang="en-US" sz="2400" b="1" i="1" kern="0" dirty="0" smtClean="0">
                <a:latin typeface="+mj-lt"/>
                <a:ea typeface="+mj-ea"/>
                <a:cs typeface="+mj-cs"/>
              </a:rPr>
              <a:t>1) Integration and interconnection of transport networks</a:t>
            </a:r>
            <a:endParaRPr lang="en-US" sz="2400" b="1" i="1" kern="0" dirty="0">
              <a:latin typeface="+mj-lt"/>
              <a:ea typeface="+mj-ea"/>
              <a:cs typeface="+mj-cs"/>
            </a:endParaRPr>
          </a:p>
        </p:txBody>
      </p:sp>
      <p:pic>
        <p:nvPicPr>
          <p:cNvPr id="185549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165388" y="2011621"/>
            <a:ext cx="7383375" cy="483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165388" y="1386780"/>
            <a:ext cx="5166180" cy="738664"/>
          </a:xfrm>
          <a:prstGeom prst="rect">
            <a:avLst/>
          </a:prstGeom>
          <a:solidFill>
            <a:srgbClr val="0064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b="1" dirty="0" smtClean="0"/>
              <a:t>Development of Mega-hubs across IDB member countries has triggered integration and interconnection of maritime and air transport networks</a:t>
            </a:r>
            <a:endParaRPr lang="en-US" sz="1400" b="1" dirty="0"/>
          </a:p>
        </p:txBody>
      </p:sp>
      <p:sp>
        <p:nvSpPr>
          <p:cNvPr id="7" name="Rectangle 6"/>
          <p:cNvSpPr/>
          <p:nvPr/>
        </p:nvSpPr>
        <p:spPr>
          <a:xfrm>
            <a:off x="7231288" y="1208601"/>
            <a:ext cx="2217511" cy="1446550"/>
          </a:xfrm>
          <a:prstGeom prst="rect">
            <a:avLst/>
          </a:prstGeom>
          <a:solidFill>
            <a:srgbClr val="EAF6CE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  <a:latin typeface="Calibri" pitchFamily="34" charset="0"/>
              </a:rPr>
              <a:t>Airports with annual traffic of more than 20 million PAX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err="1" smtClean="0">
                <a:solidFill>
                  <a:schemeClr val="tx1"/>
                </a:solidFill>
                <a:latin typeface="Calibri" pitchFamily="34" charset="0"/>
              </a:rPr>
              <a:t>Soekarno-Hatta</a:t>
            </a: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 IA, Indone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Dubai IA, UA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Ataturk IA, Turke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Kuala Lumpur IA, Malay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King </a:t>
            </a:r>
            <a:r>
              <a:rPr lang="en-US" sz="1100" dirty="0" err="1" smtClean="0">
                <a:solidFill>
                  <a:schemeClr val="tx1"/>
                </a:solidFill>
                <a:latin typeface="Calibri" pitchFamily="34" charset="0"/>
              </a:rPr>
              <a:t>Abdelaziz</a:t>
            </a:r>
            <a:r>
              <a:rPr lang="en-US" sz="1100" dirty="0" smtClean="0">
                <a:solidFill>
                  <a:schemeClr val="tx1"/>
                </a:solidFill>
                <a:latin typeface="Calibri" pitchFamily="34" charset="0"/>
              </a:rPr>
              <a:t> IA, KSA</a:t>
            </a:r>
          </a:p>
          <a:p>
            <a:endParaRPr lang="en-US" sz="1100" dirty="0" smtClean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37198" y="3470033"/>
            <a:ext cx="2217511" cy="2462213"/>
          </a:xfrm>
          <a:prstGeom prst="rect">
            <a:avLst/>
          </a:prstGeom>
          <a:solidFill>
            <a:srgbClr val="EAF6CE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chemeClr val="tx1"/>
                </a:solidFill>
                <a:latin typeface="Calibri" pitchFamily="34" charset="0"/>
              </a:rPr>
              <a:t>Ports with annual traffic of more than 2 million TEU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Dubai, UA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b="1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Port </a:t>
            </a:r>
            <a:r>
              <a:rPr lang="en-US" sz="1100" b="1" dirty="0" err="1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Klang</a:t>
            </a:r>
            <a:r>
              <a:rPr lang="en-US" sz="1100" b="1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, Malay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Calibri" pitchFamily="34" charset="0"/>
              </a:rPr>
              <a:t>Tanjung</a:t>
            </a: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Calibri" pitchFamily="34" charset="0"/>
              </a:rPr>
              <a:t>Pelepas</a:t>
            </a: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, Malay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Jakarta, Indone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Jeddah, KS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Port Said, Egyp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Calibri" pitchFamily="34" charset="0"/>
              </a:rPr>
              <a:t>Khor</a:t>
            </a: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Calibri" pitchFamily="34" charset="0"/>
              </a:rPr>
              <a:t>Fakkan</a:t>
            </a: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, UA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b="1" dirty="0" err="1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Salalah</a:t>
            </a:r>
            <a:r>
              <a:rPr lang="en-US" sz="1100" b="1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, Oma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b="1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Bandar Abbas, Ira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Istanbul, Turke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err="1">
                <a:solidFill>
                  <a:schemeClr val="tx1"/>
                </a:solidFill>
                <a:latin typeface="Calibri" pitchFamily="34" charset="0"/>
              </a:rPr>
              <a:t>Surabay</a:t>
            </a:r>
            <a:r>
              <a:rPr lang="en-US" sz="1100" dirty="0">
                <a:solidFill>
                  <a:schemeClr val="tx1"/>
                </a:solidFill>
                <a:latin typeface="Calibri" pitchFamily="34" charset="0"/>
              </a:rPr>
              <a:t>, Indones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b="1" dirty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Tangier Med, Morocco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178676" y="6456189"/>
            <a:ext cx="339033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Map of the main air and maritime mega-hubs across IDB countries	</a:t>
            </a:r>
            <a:r>
              <a:rPr lang="en-US" sz="900" dirty="0" smtClean="0"/>
              <a:t>Source: IDB</a:t>
            </a:r>
            <a:endParaRPr lang="en-US" sz="900" dirty="0"/>
          </a:p>
        </p:txBody>
      </p:sp>
    </p:spTree>
    <p:extLst>
      <p:ext uri="{BB962C8B-B14F-4D97-AF65-F5344CB8AC3E}">
        <p14:creationId xmlns="" xmlns:p14="http://schemas.microsoft.com/office/powerpoint/2010/main" val="660888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pic>
        <p:nvPicPr>
          <p:cNvPr id="1854466" name="Picture 2" descr="http://upload.wikimedia.org/wikipedia/commons/thumb/d/d9/OIC-Diagram.svg/400px-OIC-Diagram.sv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027546"/>
            <a:ext cx="3957423" cy="29284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86214" y="350765"/>
            <a:ext cx="752000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en-US" sz="2400" b="1" kern="0" dirty="0">
                <a:latin typeface="+mj-lt"/>
                <a:ea typeface="+mj-ea"/>
                <a:cs typeface="+mj-cs"/>
              </a:rPr>
              <a:t>Developing Trade and Transport across </a:t>
            </a:r>
            <a:r>
              <a:rPr lang="en-US" sz="2400" b="1" kern="0" dirty="0" smtClean="0">
                <a:latin typeface="+mj-lt"/>
                <a:ea typeface="+mj-ea"/>
                <a:cs typeface="+mj-cs"/>
              </a:rPr>
              <a:t>IDB regions</a:t>
            </a:r>
            <a:br>
              <a:rPr lang="en-US" sz="2400" b="1" kern="0" dirty="0" smtClean="0">
                <a:latin typeface="+mj-lt"/>
                <a:ea typeface="+mj-ea"/>
                <a:cs typeface="+mj-cs"/>
              </a:rPr>
            </a:br>
            <a:r>
              <a:rPr lang="en-US" sz="2400" b="1" kern="0" dirty="0" smtClean="0">
                <a:latin typeface="+mj-lt"/>
                <a:ea typeface="+mj-ea"/>
                <a:cs typeface="+mj-cs"/>
              </a:rPr>
              <a:t>	</a:t>
            </a:r>
            <a:r>
              <a:rPr lang="en-US" sz="2400" b="1" i="1" kern="0" dirty="0">
                <a:latin typeface="+mj-lt"/>
                <a:ea typeface="+mj-ea"/>
                <a:cs typeface="+mj-cs"/>
              </a:rPr>
              <a:t>2</a:t>
            </a:r>
            <a:r>
              <a:rPr lang="en-US" sz="2400" b="1" i="1" kern="0" dirty="0" smtClean="0">
                <a:latin typeface="+mj-lt"/>
                <a:ea typeface="+mj-ea"/>
                <a:cs typeface="+mj-cs"/>
              </a:rPr>
              <a:t>) Regional Economic Cooperation</a:t>
            </a:r>
            <a:endParaRPr lang="en-US" sz="2400" b="1" i="1" kern="0" dirty="0">
              <a:latin typeface="+mj-lt"/>
              <a:ea typeface="+mj-ea"/>
              <a:cs typeface="+mj-cs"/>
            </a:endParaRPr>
          </a:p>
        </p:txBody>
      </p:sp>
      <p:pic>
        <p:nvPicPr>
          <p:cNvPr id="6" name="Picture 4" descr="File:Muslim majority countries2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3352" y="2231653"/>
            <a:ext cx="6048672" cy="2759707"/>
          </a:xfrm>
          <a:prstGeom prst="rect">
            <a:avLst/>
          </a:prstGeom>
          <a:noFill/>
        </p:spPr>
      </p:pic>
      <p:sp>
        <p:nvSpPr>
          <p:cNvPr id="7" name="Line Callout 1 6"/>
          <p:cNvSpPr/>
          <p:nvPr/>
        </p:nvSpPr>
        <p:spPr>
          <a:xfrm>
            <a:off x="4034857" y="3420299"/>
            <a:ext cx="1512168" cy="792088"/>
          </a:xfrm>
          <a:prstGeom prst="borderCallout1">
            <a:avLst>
              <a:gd name="adj1" fmla="val 32860"/>
              <a:gd name="adj2" fmla="val 102361"/>
              <a:gd name="adj3" fmla="val 9350"/>
              <a:gd name="adj4" fmla="val 15203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ECOWAS</a:t>
            </a:r>
          </a:p>
          <a:p>
            <a:pPr algn="ctr"/>
            <a:r>
              <a:rPr lang="en-US" sz="1200" dirty="0" smtClean="0"/>
              <a:t>Economic Community of West African States</a:t>
            </a:r>
            <a:endParaRPr lang="en-US" sz="1200" dirty="0"/>
          </a:p>
        </p:txBody>
      </p:sp>
      <p:sp>
        <p:nvSpPr>
          <p:cNvPr id="8" name="Line Callout 1 7"/>
          <p:cNvSpPr/>
          <p:nvPr/>
        </p:nvSpPr>
        <p:spPr>
          <a:xfrm>
            <a:off x="4103889" y="4298069"/>
            <a:ext cx="1512168" cy="792088"/>
          </a:xfrm>
          <a:prstGeom prst="borderCallout1">
            <a:avLst>
              <a:gd name="adj1" fmla="val 32860"/>
              <a:gd name="adj2" fmla="val 102361"/>
              <a:gd name="adj3" fmla="val -83645"/>
              <a:gd name="adj4" fmla="val 157073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UEMOA</a:t>
            </a:r>
          </a:p>
          <a:p>
            <a:pPr algn="ctr"/>
            <a:r>
              <a:rPr lang="en-US" sz="1200" dirty="0" smtClean="0"/>
              <a:t>West African Economic and Monetary Union</a:t>
            </a:r>
            <a:endParaRPr lang="en-US" sz="1200" dirty="0"/>
          </a:p>
        </p:txBody>
      </p:sp>
      <p:sp>
        <p:nvSpPr>
          <p:cNvPr id="9" name="Line Callout 1 8"/>
          <p:cNvSpPr/>
          <p:nvPr/>
        </p:nvSpPr>
        <p:spPr>
          <a:xfrm>
            <a:off x="4106865" y="2519685"/>
            <a:ext cx="1368152" cy="576064"/>
          </a:xfrm>
          <a:prstGeom prst="borderCallout1">
            <a:avLst>
              <a:gd name="adj1" fmla="val 32860"/>
              <a:gd name="adj2" fmla="val 102361"/>
              <a:gd name="adj3" fmla="val 110160"/>
              <a:gd name="adj4" fmla="val 164412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AMU</a:t>
            </a:r>
          </a:p>
          <a:p>
            <a:pPr algn="ctr"/>
            <a:r>
              <a:rPr lang="en-US" sz="1200" dirty="0" smtClean="0"/>
              <a:t>Arab Maghreb Union</a:t>
            </a:r>
            <a:endParaRPr lang="en-US" sz="1200" dirty="0"/>
          </a:p>
        </p:txBody>
      </p:sp>
      <p:sp>
        <p:nvSpPr>
          <p:cNvPr id="10" name="Line Callout 1 9"/>
          <p:cNvSpPr/>
          <p:nvPr/>
        </p:nvSpPr>
        <p:spPr>
          <a:xfrm>
            <a:off x="5326832" y="1655589"/>
            <a:ext cx="1368152" cy="576064"/>
          </a:xfrm>
          <a:prstGeom prst="borderCallout1">
            <a:avLst>
              <a:gd name="adj1" fmla="val 112226"/>
              <a:gd name="adj2" fmla="val 74513"/>
              <a:gd name="adj3" fmla="val 244641"/>
              <a:gd name="adj4" fmla="val 99434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LAS </a:t>
            </a:r>
          </a:p>
          <a:p>
            <a:pPr algn="ctr"/>
            <a:r>
              <a:rPr lang="en-US" dirty="0" smtClean="0"/>
              <a:t>League of Arab States</a:t>
            </a:r>
          </a:p>
        </p:txBody>
      </p:sp>
      <p:sp>
        <p:nvSpPr>
          <p:cNvPr id="11" name="Line Callout 1 10"/>
          <p:cNvSpPr/>
          <p:nvPr/>
        </p:nvSpPr>
        <p:spPr>
          <a:xfrm>
            <a:off x="6864896" y="1633389"/>
            <a:ext cx="1368152" cy="576064"/>
          </a:xfrm>
          <a:prstGeom prst="borderCallout1">
            <a:avLst>
              <a:gd name="adj1" fmla="val 112226"/>
              <a:gd name="adj2" fmla="val 39239"/>
              <a:gd name="adj3" fmla="val 262278"/>
              <a:gd name="adj4" fmla="val 3909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GCC</a:t>
            </a:r>
            <a:br>
              <a:rPr lang="en-US" b="1" dirty="0" smtClean="0"/>
            </a:br>
            <a:r>
              <a:rPr lang="en-US" sz="1200" dirty="0" smtClean="0"/>
              <a:t>Gulf Cooperation Council</a:t>
            </a:r>
          </a:p>
        </p:txBody>
      </p:sp>
      <p:sp>
        <p:nvSpPr>
          <p:cNvPr id="12" name="Line Callout 1 11"/>
          <p:cNvSpPr/>
          <p:nvPr/>
        </p:nvSpPr>
        <p:spPr>
          <a:xfrm>
            <a:off x="8321948" y="1511573"/>
            <a:ext cx="1440160" cy="864096"/>
          </a:xfrm>
          <a:prstGeom prst="borderCallout1">
            <a:avLst>
              <a:gd name="adj1" fmla="val 112226"/>
              <a:gd name="adj2" fmla="val 39239"/>
              <a:gd name="adj3" fmla="val 166010"/>
              <a:gd name="adj4" fmla="val -47695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ECO</a:t>
            </a:r>
            <a:br>
              <a:rPr lang="en-US" b="1" dirty="0" smtClean="0"/>
            </a:br>
            <a:r>
              <a:rPr lang="en-US" sz="1200" dirty="0" smtClean="0"/>
              <a:t>Economic Cooperation Organization</a:t>
            </a:r>
          </a:p>
        </p:txBody>
      </p:sp>
      <p:sp>
        <p:nvSpPr>
          <p:cNvPr id="13" name="Line Callout 1 12"/>
          <p:cNvSpPr/>
          <p:nvPr/>
        </p:nvSpPr>
        <p:spPr>
          <a:xfrm>
            <a:off x="8554492" y="4199272"/>
            <a:ext cx="1313408" cy="792088"/>
          </a:xfrm>
          <a:prstGeom prst="borderCallout1">
            <a:avLst>
              <a:gd name="adj1" fmla="val -11366"/>
              <a:gd name="adj2" fmla="val 41823"/>
              <a:gd name="adj3" fmla="val -47638"/>
              <a:gd name="adj4" fmla="val 10955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ASEAN</a:t>
            </a:r>
            <a:br>
              <a:rPr lang="en-US" b="1" dirty="0" smtClean="0"/>
            </a:br>
            <a:r>
              <a:rPr lang="en-US" sz="1200" dirty="0" smtClean="0"/>
              <a:t>Association of Southeast Asian Nations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459040" y="5161669"/>
            <a:ext cx="2448272" cy="47667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i="1" dirty="0" smtClean="0"/>
              <a:t>+Others</a:t>
            </a:r>
            <a:br>
              <a:rPr lang="en-US" i="1" dirty="0" smtClean="0"/>
            </a:br>
            <a:r>
              <a:rPr lang="en-US" i="1" dirty="0" smtClean="0"/>
              <a:t>e.g. SAARC, IGAD</a:t>
            </a:r>
            <a:r>
              <a:rPr lang="en-US" dirty="0" smtClean="0"/>
              <a:t>, </a:t>
            </a:r>
            <a:r>
              <a:rPr lang="en-US" i="1" dirty="0" smtClean="0"/>
              <a:t>etc.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" name="Line Callout 1 14"/>
          <p:cNvSpPr/>
          <p:nvPr/>
        </p:nvSpPr>
        <p:spPr>
          <a:xfrm>
            <a:off x="7029996" y="4607917"/>
            <a:ext cx="1440160" cy="792088"/>
          </a:xfrm>
          <a:prstGeom prst="borderCallout1">
            <a:avLst>
              <a:gd name="adj1" fmla="val -9762"/>
              <a:gd name="adj2" fmla="val 36594"/>
              <a:gd name="adj3" fmla="val -111771"/>
              <a:gd name="adj4" fmla="val 21970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OMESA</a:t>
            </a:r>
            <a:br>
              <a:rPr lang="en-US" b="1" dirty="0" smtClean="0"/>
            </a:br>
            <a:r>
              <a:rPr lang="en-US" sz="1200" dirty="0" smtClean="0"/>
              <a:t>Common Market for Eastern and Southern Afric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65388" y="5731785"/>
            <a:ext cx="5166180" cy="738664"/>
          </a:xfrm>
          <a:prstGeom prst="rect">
            <a:avLst/>
          </a:prstGeom>
          <a:solidFill>
            <a:srgbClr val="0064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b="1" dirty="0" smtClean="0"/>
              <a:t>IDB Supports regional economic cooperation across sub-regions and partners with the Regional Economic Communities for the integration of member countries</a:t>
            </a:r>
            <a:endParaRPr lang="en-US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803900" y="5678400"/>
            <a:ext cx="422910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Main Regional Economic Communities that IDB partners with</a:t>
            </a:r>
          </a:p>
        </p:txBody>
      </p:sp>
    </p:spTree>
    <p:extLst>
      <p:ext uri="{BB962C8B-B14F-4D97-AF65-F5344CB8AC3E}">
        <p14:creationId xmlns="" xmlns:p14="http://schemas.microsoft.com/office/powerpoint/2010/main" val="4122753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6C428D-C7AC-4625-B1EA-C7961CBEC4C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117601" y="4989939"/>
            <a:ext cx="7647214" cy="307777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400" b="1" dirty="0" smtClean="0"/>
              <a:t>IDB Regions are among the least integrated in terms of intra and inter-regional trade… </a:t>
            </a:r>
          </a:p>
        </p:txBody>
      </p:sp>
      <p:sp>
        <p:nvSpPr>
          <p:cNvPr id="7" name="Rectangle 6"/>
          <p:cNvSpPr/>
          <p:nvPr/>
        </p:nvSpPr>
        <p:spPr>
          <a:xfrm>
            <a:off x="286214" y="350765"/>
            <a:ext cx="752000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en-US" sz="2400" b="1" kern="0" dirty="0">
                <a:latin typeface="+mj-lt"/>
                <a:ea typeface="+mj-ea"/>
                <a:cs typeface="+mj-cs"/>
              </a:rPr>
              <a:t>Developing Trade and Transport across </a:t>
            </a:r>
            <a:r>
              <a:rPr lang="en-US" sz="2400" b="1" kern="0" dirty="0" smtClean="0">
                <a:latin typeface="+mj-lt"/>
                <a:ea typeface="+mj-ea"/>
                <a:cs typeface="+mj-cs"/>
              </a:rPr>
              <a:t>IDB regions</a:t>
            </a:r>
            <a:br>
              <a:rPr lang="en-US" sz="2400" b="1" kern="0" dirty="0" smtClean="0">
                <a:latin typeface="+mj-lt"/>
                <a:ea typeface="+mj-ea"/>
                <a:cs typeface="+mj-cs"/>
              </a:rPr>
            </a:br>
            <a:r>
              <a:rPr lang="en-US" sz="2400" b="1" kern="0" dirty="0" smtClean="0">
                <a:latin typeface="+mj-lt"/>
                <a:ea typeface="+mj-ea"/>
                <a:cs typeface="+mj-cs"/>
              </a:rPr>
              <a:t>	3</a:t>
            </a:r>
            <a:r>
              <a:rPr lang="en-US" sz="2400" b="1" i="1" kern="0" dirty="0" smtClean="0">
                <a:latin typeface="+mj-lt"/>
                <a:ea typeface="+mj-ea"/>
                <a:cs typeface="+mj-cs"/>
              </a:rPr>
              <a:t>) Trade integration</a:t>
            </a:r>
            <a:endParaRPr lang="en-US" sz="2400" b="1" i="1" kern="0" dirty="0">
              <a:latin typeface="+mj-lt"/>
              <a:ea typeface="+mj-ea"/>
              <a:cs typeface="+mj-cs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28220456"/>
              </p:ext>
            </p:extLst>
          </p:nvPr>
        </p:nvGraphicFramePr>
        <p:xfrm>
          <a:off x="431799" y="1917700"/>
          <a:ext cx="8267701" cy="2557020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2197101"/>
                <a:gridCol w="952500"/>
                <a:gridCol w="901700"/>
                <a:gridCol w="876300"/>
                <a:gridCol w="723900"/>
                <a:gridCol w="850900"/>
                <a:gridCol w="965200"/>
                <a:gridCol w="800100"/>
              </a:tblGrid>
              <a:tr h="19240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rigin/Destination</a:t>
                      </a:r>
                      <a:endParaRPr lang="en-US" sz="1100" b="1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North Americ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 smtClean="0">
                          <a:effectLst/>
                        </a:rPr>
                        <a:t>Latin Americ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Europe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CIS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Afric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Middle East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Asi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249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orth Americ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8.7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8.4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6.8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0.6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.7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.7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1.0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485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smtClean="0">
                          <a:effectLst/>
                        </a:rPr>
                        <a:t>Latin America</a:t>
                      </a:r>
                      <a:endParaRPr lang="en-US" sz="11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3.9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5.6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8.7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.3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.6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.6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3.2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249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urope</a:t>
                      </a:r>
                      <a:endParaRPr lang="en-US" sz="11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.4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.7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71.0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.2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.1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.0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9.3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485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mmonwealth of Independent States (CIS)</a:t>
                      </a:r>
                      <a:endParaRPr lang="en-US" sz="11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5.6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.1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52.4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.5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.3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4.9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249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frica</a:t>
                      </a:r>
                      <a:endParaRPr lang="en-US" sz="11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6.8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.7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6.2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0.4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.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3.7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4.1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249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ddle East</a:t>
                      </a:r>
                      <a:endParaRPr lang="en-US" sz="11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8.8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0.8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2.1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0.5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.2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52.6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</a:tr>
              <a:tr h="24162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sia</a:t>
                      </a:r>
                      <a:endParaRPr lang="en-US" sz="11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7.1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.2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17.2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1.8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.7</a:t>
                      </a:r>
                      <a:endParaRPr lang="en-US" sz="1200" b="0" i="0" u="none" strike="noStrike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4.2</a:t>
                      </a:r>
                      <a:endParaRPr lang="en-US" sz="1200" b="0" i="0" u="none" strike="noStrike" dirty="0">
                        <a:effectLst/>
                        <a:latin typeface="Arial Narrow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2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.6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7738441" y="4474720"/>
            <a:ext cx="99899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 smtClean="0"/>
              <a:t>Source: WTO</a:t>
            </a:r>
            <a:endParaRPr lang="en-US" sz="1050" dirty="0"/>
          </a:p>
        </p:txBody>
      </p:sp>
      <p:sp>
        <p:nvSpPr>
          <p:cNvPr id="5" name="Rectangle 4"/>
          <p:cNvSpPr/>
          <p:nvPr/>
        </p:nvSpPr>
        <p:spPr bwMode="auto">
          <a:xfrm>
            <a:off x="5638800" y="3479800"/>
            <a:ext cx="3126015" cy="990600"/>
          </a:xfrm>
          <a:prstGeom prst="rect">
            <a:avLst/>
          </a:prstGeom>
          <a:solidFill>
            <a:srgbClr val="DAF0A8">
              <a:alpha val="13000"/>
            </a:srgbClr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0513" y="1588785"/>
            <a:ext cx="75200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ntra and inter-regional merchandise trade statistics by region as a percentage of total 2010 exports</a:t>
            </a:r>
            <a:endParaRPr lang="en-US" sz="1050" dirty="0"/>
          </a:p>
        </p:txBody>
      </p:sp>
    </p:spTree>
    <p:extLst>
      <p:ext uri="{BB962C8B-B14F-4D97-AF65-F5344CB8AC3E}">
        <p14:creationId xmlns="" xmlns:p14="http://schemas.microsoft.com/office/powerpoint/2010/main" val="4277247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FO0CU51U.SkW.NIJUB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RGmXcN6kWw3dtAfJHK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FO0CU51U.SkW.NIJUB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JUbNl7jEqKRNYRrERX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heme/theme1.xml><?xml version="1.0" encoding="utf-8"?>
<a:theme xmlns:a="http://schemas.openxmlformats.org/drawingml/2006/main" name="01 BoozTemplate - BASIC TEMPLATE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3</TotalTime>
  <Pages>8</Pages>
  <Words>872</Words>
  <Application>Microsoft Office PowerPoint</Application>
  <PresentationFormat>A4 Paper (210x297 mm)</PresentationFormat>
  <Paragraphs>249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01 BoozTemplate - BASIC TEMPLATE</vt:lpstr>
      <vt:lpstr>think-cell Slide</vt:lpstr>
      <vt:lpstr>Slide 0</vt:lpstr>
      <vt:lpstr>Snapshot of IDB Group     Trade and Transport across IDB regions   Initiatives of the IDB Group for developing trade and transport across Africa, Asia and the Middle East        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شكرا  لكم  Thank you  Walid Abdelwahab wabdelwahab@isdb.org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Wissem ATTIA</dc:creator>
  <cp:lastModifiedBy>jebele</cp:lastModifiedBy>
  <cp:revision>237</cp:revision>
  <cp:lastPrinted>2008-04-28T11:46:04Z</cp:lastPrinted>
  <dcterms:created xsi:type="dcterms:W3CDTF">2008-08-26T07:22:31Z</dcterms:created>
  <dcterms:modified xsi:type="dcterms:W3CDTF">2013-06-12T16:38:57Z</dcterms:modified>
</cp:coreProperties>
</file>